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79" r:id="rId4"/>
  </p:sldMasterIdLst>
  <p:notesMasterIdLst>
    <p:notesMasterId r:id="rId11"/>
  </p:notesMasterIdLst>
  <p:handoutMasterIdLst>
    <p:handoutMasterId r:id="rId12"/>
  </p:handoutMasterIdLst>
  <p:sldIdLst>
    <p:sldId id="270" r:id="rId5"/>
    <p:sldId id="874" r:id="rId6"/>
    <p:sldId id="873" r:id="rId7"/>
    <p:sldId id="879" r:id="rId8"/>
    <p:sldId id="880" r:id="rId9"/>
    <p:sldId id="591" r:id="rId10"/>
  </p:sldIdLst>
  <p:sldSz cx="9144000" cy="5143500" type="screen16x9"/>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nil Athayil (UST, USA)" initials="SA(U" lastIdx="11" clrIdx="0">
    <p:extLst>
      <p:ext uri="{19B8F6BF-5375-455C-9EA6-DF929625EA0E}">
        <p15:presenceInfo xmlns:p15="http://schemas.microsoft.com/office/powerpoint/2012/main" userId="S-1-5-21-3314194823-2298894341-969725918-861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7EAF5"/>
    <a:srgbClr val="0079C1"/>
    <a:srgbClr val="E5EEF9"/>
    <a:srgbClr val="94C5FF"/>
    <a:srgbClr val="004B8C"/>
    <a:srgbClr val="309DDF"/>
    <a:srgbClr val="2F5597"/>
    <a:srgbClr val="78B4AE"/>
    <a:srgbClr val="D5E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60" autoAdjust="0"/>
    <p:restoredTop sz="86439" autoAdjust="0"/>
  </p:normalViewPr>
  <p:slideViewPr>
    <p:cSldViewPr snapToGrid="0" snapToObjects="1">
      <p:cViewPr varScale="1">
        <p:scale>
          <a:sx n="76" d="100"/>
          <a:sy n="76" d="100"/>
        </p:scale>
        <p:origin x="852" y="84"/>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iagrams/_rels/data6.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_rels/drawing6.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85C1E3-8A72-4245-A9C5-97609B4F065E}" type="doc">
      <dgm:prSet loTypeId="urn:microsoft.com/office/officeart/2005/8/layout/orgChart1" loCatId="hierarchy" qsTypeId="urn:microsoft.com/office/officeart/2005/8/quickstyle/simple1" qsCatId="simple" csTypeId="urn:microsoft.com/office/officeart/2005/8/colors/accent5_4" csCatId="accent5" phldr="1"/>
      <dgm:spPr/>
      <dgm:t>
        <a:bodyPr/>
        <a:lstStyle/>
        <a:p>
          <a:endParaRPr lang="en-US"/>
        </a:p>
      </dgm:t>
    </dgm:pt>
    <dgm:pt modelId="{C47881CE-CC45-4EE0-9C66-CD926C29C589}">
      <dgm:prSet/>
      <dgm:spPr/>
      <dgm:t>
        <a:bodyPr/>
        <a:lstStyle/>
        <a:p>
          <a:r>
            <a:rPr lang="en-US"/>
            <a:t>Objectives</a:t>
          </a:r>
        </a:p>
      </dgm:t>
    </dgm:pt>
    <dgm:pt modelId="{6EF90140-074B-4CC6-A11E-0A2207D6C814}" type="parTrans" cxnId="{7F9A475C-D20D-4426-85CF-F48B9BE2551D}">
      <dgm:prSet/>
      <dgm:spPr/>
      <dgm:t>
        <a:bodyPr/>
        <a:lstStyle/>
        <a:p>
          <a:endParaRPr lang="en-US"/>
        </a:p>
      </dgm:t>
    </dgm:pt>
    <dgm:pt modelId="{588585D2-4277-493E-AE70-DD0FDB87E22A}" type="sibTrans" cxnId="{7F9A475C-D20D-4426-85CF-F48B9BE2551D}">
      <dgm:prSet/>
      <dgm:spPr/>
      <dgm:t>
        <a:bodyPr/>
        <a:lstStyle/>
        <a:p>
          <a:endParaRPr lang="en-US"/>
        </a:p>
      </dgm:t>
    </dgm:pt>
    <dgm:pt modelId="{DCF770A7-7DCD-448B-9058-9093509AFBE0}">
      <dgm:prSet/>
      <dgm:spPr/>
      <dgm:t>
        <a:bodyPr/>
        <a:lstStyle/>
        <a:p>
          <a:r>
            <a:rPr lang="en-US"/>
            <a:t>Programming skills – 35% marks</a:t>
          </a:r>
        </a:p>
      </dgm:t>
    </dgm:pt>
    <dgm:pt modelId="{7080E527-0B1A-45E7-B01B-EDC088CB159F}" type="parTrans" cxnId="{103E3ED0-0666-4039-A9E1-45E29AF49535}">
      <dgm:prSet/>
      <dgm:spPr/>
      <dgm:t>
        <a:bodyPr/>
        <a:lstStyle/>
        <a:p>
          <a:endParaRPr lang="en-US"/>
        </a:p>
      </dgm:t>
    </dgm:pt>
    <dgm:pt modelId="{AA1C83BC-762E-4A57-8B8B-D6F597811AA1}" type="sibTrans" cxnId="{103E3ED0-0666-4039-A9E1-45E29AF49535}">
      <dgm:prSet/>
      <dgm:spPr/>
      <dgm:t>
        <a:bodyPr/>
        <a:lstStyle/>
        <a:p>
          <a:endParaRPr lang="en-US"/>
        </a:p>
      </dgm:t>
    </dgm:pt>
    <dgm:pt modelId="{A1EBF984-258F-4179-9D5D-74BC93DE2D43}">
      <dgm:prSet/>
      <dgm:spPr/>
      <dgm:t>
        <a:bodyPr/>
        <a:lstStyle/>
        <a:p>
          <a:r>
            <a:rPr lang="en-US"/>
            <a:t>Hands on training for 7 weeks – 5% per week</a:t>
          </a:r>
        </a:p>
      </dgm:t>
    </dgm:pt>
    <dgm:pt modelId="{64C329D8-C7C1-40FF-8B92-B9FAC0E126AB}" type="parTrans" cxnId="{58B668AA-D731-473A-9BDB-7013504FB1DB}">
      <dgm:prSet/>
      <dgm:spPr/>
      <dgm:t>
        <a:bodyPr/>
        <a:lstStyle/>
        <a:p>
          <a:endParaRPr lang="en-US"/>
        </a:p>
      </dgm:t>
    </dgm:pt>
    <dgm:pt modelId="{E656A046-8FD4-4FBE-96F3-F898E8D245B2}" type="sibTrans" cxnId="{58B668AA-D731-473A-9BDB-7013504FB1DB}">
      <dgm:prSet/>
      <dgm:spPr/>
      <dgm:t>
        <a:bodyPr/>
        <a:lstStyle/>
        <a:p>
          <a:endParaRPr lang="en-US"/>
        </a:p>
      </dgm:t>
    </dgm:pt>
    <dgm:pt modelId="{4E337052-017A-4571-8F72-2F9166B6E532}">
      <dgm:prSet/>
      <dgm:spPr/>
      <dgm:t>
        <a:bodyPr/>
        <a:lstStyle/>
        <a:p>
          <a:r>
            <a:rPr lang="en-US"/>
            <a:t>Deep dive for 2 weeks</a:t>
          </a:r>
        </a:p>
      </dgm:t>
    </dgm:pt>
    <dgm:pt modelId="{6DE6AE15-5FC8-4E56-89C6-BB2E4AE6C0BF}" type="parTrans" cxnId="{92633CAA-B77A-426C-995E-BDC3AF6A2247}">
      <dgm:prSet/>
      <dgm:spPr/>
      <dgm:t>
        <a:bodyPr/>
        <a:lstStyle/>
        <a:p>
          <a:endParaRPr lang="en-US"/>
        </a:p>
      </dgm:t>
    </dgm:pt>
    <dgm:pt modelId="{E82FA755-723B-4970-A55A-D31DFD5DC572}" type="sibTrans" cxnId="{92633CAA-B77A-426C-995E-BDC3AF6A2247}">
      <dgm:prSet/>
      <dgm:spPr/>
      <dgm:t>
        <a:bodyPr/>
        <a:lstStyle/>
        <a:p>
          <a:endParaRPr lang="en-US"/>
        </a:p>
      </dgm:t>
    </dgm:pt>
    <dgm:pt modelId="{E1FBF417-ABB4-41EE-9942-2BDE152CFE66}">
      <dgm:prSet/>
      <dgm:spPr/>
      <dgm:t>
        <a:bodyPr/>
        <a:lstStyle/>
        <a:p>
          <a:r>
            <a:rPr lang="en-US"/>
            <a:t>Development at scale – 50%</a:t>
          </a:r>
        </a:p>
      </dgm:t>
    </dgm:pt>
    <dgm:pt modelId="{1F8344B7-393F-448F-87E4-6894A67E60BF}" type="parTrans" cxnId="{1B29A830-5132-4BA0-AED0-78551EE03944}">
      <dgm:prSet/>
      <dgm:spPr/>
      <dgm:t>
        <a:bodyPr/>
        <a:lstStyle/>
        <a:p>
          <a:endParaRPr lang="en-US"/>
        </a:p>
      </dgm:t>
    </dgm:pt>
    <dgm:pt modelId="{B3478A3C-A7F8-4F49-B1E5-A937270ED6F6}" type="sibTrans" cxnId="{1B29A830-5132-4BA0-AED0-78551EE03944}">
      <dgm:prSet/>
      <dgm:spPr/>
      <dgm:t>
        <a:bodyPr/>
        <a:lstStyle/>
        <a:p>
          <a:endParaRPr lang="en-US"/>
        </a:p>
      </dgm:t>
    </dgm:pt>
    <dgm:pt modelId="{7E3575E1-3D65-45F6-A13C-0B7C8D42AACE}">
      <dgm:prSet/>
      <dgm:spPr/>
      <dgm:t>
        <a:bodyPr/>
        <a:lstStyle/>
        <a:p>
          <a:r>
            <a:rPr lang="en-US"/>
            <a:t>Individual project – 20%</a:t>
          </a:r>
        </a:p>
      </dgm:t>
    </dgm:pt>
    <dgm:pt modelId="{9D1653C4-1BB4-4953-8F6F-A126D5BEB635}" type="parTrans" cxnId="{DF5F4FA7-88C6-4727-AE20-7E894F9AF590}">
      <dgm:prSet/>
      <dgm:spPr/>
      <dgm:t>
        <a:bodyPr/>
        <a:lstStyle/>
        <a:p>
          <a:endParaRPr lang="en-US"/>
        </a:p>
      </dgm:t>
    </dgm:pt>
    <dgm:pt modelId="{28FC5F05-5CE9-414D-AC63-97D3CBC43AEE}" type="sibTrans" cxnId="{DF5F4FA7-88C6-4727-AE20-7E894F9AF590}">
      <dgm:prSet/>
      <dgm:spPr/>
      <dgm:t>
        <a:bodyPr/>
        <a:lstStyle/>
        <a:p>
          <a:endParaRPr lang="en-US"/>
        </a:p>
      </dgm:t>
    </dgm:pt>
    <dgm:pt modelId="{B9953076-97A4-48D1-BDB5-CAD0606609C4}">
      <dgm:prSet/>
      <dgm:spPr/>
      <dgm:t>
        <a:bodyPr/>
        <a:lstStyle/>
        <a:p>
          <a:r>
            <a:rPr lang="en-US"/>
            <a:t>Team based development – 30%</a:t>
          </a:r>
        </a:p>
      </dgm:t>
    </dgm:pt>
    <dgm:pt modelId="{726B1038-F895-48A0-A0B2-8FB92A4D4E29}" type="parTrans" cxnId="{ABD060C7-2BFC-4976-B4D0-098C1B803F12}">
      <dgm:prSet/>
      <dgm:spPr/>
      <dgm:t>
        <a:bodyPr/>
        <a:lstStyle/>
        <a:p>
          <a:endParaRPr lang="en-US"/>
        </a:p>
      </dgm:t>
    </dgm:pt>
    <dgm:pt modelId="{CCBB871C-8931-4EAC-A3EE-3228E0F01189}" type="sibTrans" cxnId="{ABD060C7-2BFC-4976-B4D0-098C1B803F12}">
      <dgm:prSet/>
      <dgm:spPr/>
      <dgm:t>
        <a:bodyPr/>
        <a:lstStyle/>
        <a:p>
          <a:endParaRPr lang="en-US"/>
        </a:p>
      </dgm:t>
    </dgm:pt>
    <dgm:pt modelId="{187F2EC7-E289-4750-8566-FA8A236F62D7}">
      <dgm:prSet/>
      <dgm:spPr/>
      <dgm:t>
        <a:bodyPr/>
        <a:lstStyle/>
        <a:p>
          <a:r>
            <a:rPr lang="en-US"/>
            <a:t>Breadth of knowledge – 15%</a:t>
          </a:r>
        </a:p>
      </dgm:t>
    </dgm:pt>
    <dgm:pt modelId="{C8329EA0-8C20-4CDD-A2B4-7AF562B07CFA}" type="parTrans" cxnId="{9E3DB8D0-8D2B-434F-889B-26D9B7D09FB1}">
      <dgm:prSet/>
      <dgm:spPr/>
      <dgm:t>
        <a:bodyPr/>
        <a:lstStyle/>
        <a:p>
          <a:endParaRPr lang="en-US"/>
        </a:p>
      </dgm:t>
    </dgm:pt>
    <dgm:pt modelId="{0F8B9B8D-712B-4CC3-BCFD-CA6B1A137904}" type="sibTrans" cxnId="{9E3DB8D0-8D2B-434F-889B-26D9B7D09FB1}">
      <dgm:prSet/>
      <dgm:spPr/>
      <dgm:t>
        <a:bodyPr/>
        <a:lstStyle/>
        <a:p>
          <a:endParaRPr lang="en-US"/>
        </a:p>
      </dgm:t>
    </dgm:pt>
    <dgm:pt modelId="{4998C4FD-9A8D-4614-AC61-360A6DA5D9E8}">
      <dgm:prSet/>
      <dgm:spPr/>
      <dgm:t>
        <a:bodyPr/>
        <a:lstStyle/>
        <a:p>
          <a:r>
            <a:rPr lang="en-US"/>
            <a:t>Weekly team presentation of a topic 2.5%</a:t>
          </a:r>
        </a:p>
      </dgm:t>
    </dgm:pt>
    <dgm:pt modelId="{A6E7A8D8-8F6D-4CDC-A0B1-CA868E7E33EC}" type="parTrans" cxnId="{8CF08C3C-29EA-4F63-9CB8-05726B6D3745}">
      <dgm:prSet/>
      <dgm:spPr/>
      <dgm:t>
        <a:bodyPr/>
        <a:lstStyle/>
        <a:p>
          <a:endParaRPr lang="en-US"/>
        </a:p>
      </dgm:t>
    </dgm:pt>
    <dgm:pt modelId="{7EA6CAE2-919A-4503-9B06-3EBD3B7EFB1B}" type="sibTrans" cxnId="{8CF08C3C-29EA-4F63-9CB8-05726B6D3745}">
      <dgm:prSet/>
      <dgm:spPr/>
      <dgm:t>
        <a:bodyPr/>
        <a:lstStyle/>
        <a:p>
          <a:endParaRPr lang="en-US"/>
        </a:p>
      </dgm:t>
    </dgm:pt>
    <dgm:pt modelId="{2F4DCCE6-036A-47C1-9E74-87467B65BC23}" type="pres">
      <dgm:prSet presAssocID="{E285C1E3-8A72-4245-A9C5-97609B4F065E}" presName="hierChild1" presStyleCnt="0">
        <dgm:presLayoutVars>
          <dgm:orgChart val="1"/>
          <dgm:chPref val="1"/>
          <dgm:dir/>
          <dgm:animOne val="branch"/>
          <dgm:animLvl val="lvl"/>
          <dgm:resizeHandles/>
        </dgm:presLayoutVars>
      </dgm:prSet>
      <dgm:spPr/>
    </dgm:pt>
    <dgm:pt modelId="{0A319DCF-BFE8-4748-8340-D7B84A0D395F}" type="pres">
      <dgm:prSet presAssocID="{C47881CE-CC45-4EE0-9C66-CD926C29C589}" presName="hierRoot1" presStyleCnt="0">
        <dgm:presLayoutVars>
          <dgm:hierBranch val="init"/>
        </dgm:presLayoutVars>
      </dgm:prSet>
      <dgm:spPr/>
    </dgm:pt>
    <dgm:pt modelId="{2E20D26C-A9C2-4190-8908-7A10AEE24B05}" type="pres">
      <dgm:prSet presAssocID="{C47881CE-CC45-4EE0-9C66-CD926C29C589}" presName="rootComposite1" presStyleCnt="0"/>
      <dgm:spPr/>
    </dgm:pt>
    <dgm:pt modelId="{565EEADA-CE3D-4163-80F4-CB70724EEA75}" type="pres">
      <dgm:prSet presAssocID="{C47881CE-CC45-4EE0-9C66-CD926C29C589}" presName="rootText1" presStyleLbl="node0" presStyleIdx="0" presStyleCnt="1">
        <dgm:presLayoutVars>
          <dgm:chPref val="3"/>
        </dgm:presLayoutVars>
      </dgm:prSet>
      <dgm:spPr/>
    </dgm:pt>
    <dgm:pt modelId="{98B5B899-E770-406C-9550-D26A3F5D0902}" type="pres">
      <dgm:prSet presAssocID="{C47881CE-CC45-4EE0-9C66-CD926C29C589}" presName="rootConnector1" presStyleLbl="node1" presStyleIdx="0" presStyleCnt="0"/>
      <dgm:spPr/>
    </dgm:pt>
    <dgm:pt modelId="{9F44393F-18A3-4102-9506-B33B865240EC}" type="pres">
      <dgm:prSet presAssocID="{C47881CE-CC45-4EE0-9C66-CD926C29C589}" presName="hierChild2" presStyleCnt="0"/>
      <dgm:spPr/>
    </dgm:pt>
    <dgm:pt modelId="{C4E0D1BD-6196-4066-BF5E-1492B203FB1C}" type="pres">
      <dgm:prSet presAssocID="{7080E527-0B1A-45E7-B01B-EDC088CB159F}" presName="Name37" presStyleLbl="parChTrans1D2" presStyleIdx="0" presStyleCnt="3"/>
      <dgm:spPr/>
    </dgm:pt>
    <dgm:pt modelId="{CA9596B1-72D7-48A2-88EA-3107F4221DCC}" type="pres">
      <dgm:prSet presAssocID="{DCF770A7-7DCD-448B-9058-9093509AFBE0}" presName="hierRoot2" presStyleCnt="0">
        <dgm:presLayoutVars>
          <dgm:hierBranch val="init"/>
        </dgm:presLayoutVars>
      </dgm:prSet>
      <dgm:spPr/>
    </dgm:pt>
    <dgm:pt modelId="{C581F4CF-40EA-45A5-8ED3-A2A777D0CC36}" type="pres">
      <dgm:prSet presAssocID="{DCF770A7-7DCD-448B-9058-9093509AFBE0}" presName="rootComposite" presStyleCnt="0"/>
      <dgm:spPr/>
    </dgm:pt>
    <dgm:pt modelId="{26C629AF-38DC-40C1-928F-5123B96509E5}" type="pres">
      <dgm:prSet presAssocID="{DCF770A7-7DCD-448B-9058-9093509AFBE0}" presName="rootText" presStyleLbl="node2" presStyleIdx="0" presStyleCnt="3" custScaleY="113283">
        <dgm:presLayoutVars>
          <dgm:chPref val="3"/>
        </dgm:presLayoutVars>
      </dgm:prSet>
      <dgm:spPr/>
    </dgm:pt>
    <dgm:pt modelId="{68AFF768-26C2-4FF3-8DDB-154F1FAB80F2}" type="pres">
      <dgm:prSet presAssocID="{DCF770A7-7DCD-448B-9058-9093509AFBE0}" presName="rootConnector" presStyleLbl="node2" presStyleIdx="0" presStyleCnt="3"/>
      <dgm:spPr/>
    </dgm:pt>
    <dgm:pt modelId="{6D1CC717-625A-41A5-A41B-F16E984EA9E2}" type="pres">
      <dgm:prSet presAssocID="{DCF770A7-7DCD-448B-9058-9093509AFBE0}" presName="hierChild4" presStyleCnt="0"/>
      <dgm:spPr/>
    </dgm:pt>
    <dgm:pt modelId="{36E950AC-307C-49A6-87D3-1CBDE44C5DBF}" type="pres">
      <dgm:prSet presAssocID="{64C329D8-C7C1-40FF-8B92-B9FAC0E126AB}" presName="Name37" presStyleLbl="parChTrans1D3" presStyleIdx="0" presStyleCnt="5"/>
      <dgm:spPr/>
    </dgm:pt>
    <dgm:pt modelId="{B2D4BD50-5A18-4BAF-B915-26B799BBC357}" type="pres">
      <dgm:prSet presAssocID="{A1EBF984-258F-4179-9D5D-74BC93DE2D43}" presName="hierRoot2" presStyleCnt="0">
        <dgm:presLayoutVars>
          <dgm:hierBranch val="init"/>
        </dgm:presLayoutVars>
      </dgm:prSet>
      <dgm:spPr/>
    </dgm:pt>
    <dgm:pt modelId="{931BBD30-0BCD-40B9-AA63-C1573EBD72F1}" type="pres">
      <dgm:prSet presAssocID="{A1EBF984-258F-4179-9D5D-74BC93DE2D43}" presName="rootComposite" presStyleCnt="0"/>
      <dgm:spPr/>
    </dgm:pt>
    <dgm:pt modelId="{E3F679D2-B6B7-4DD3-AE39-C90FE694DBB7}" type="pres">
      <dgm:prSet presAssocID="{A1EBF984-258F-4179-9D5D-74BC93DE2D43}" presName="rootText" presStyleLbl="node3" presStyleIdx="0" presStyleCnt="5">
        <dgm:presLayoutVars>
          <dgm:chPref val="3"/>
        </dgm:presLayoutVars>
      </dgm:prSet>
      <dgm:spPr/>
    </dgm:pt>
    <dgm:pt modelId="{D6D65AD7-2544-47EE-A81E-DB1BF7AA76DF}" type="pres">
      <dgm:prSet presAssocID="{A1EBF984-258F-4179-9D5D-74BC93DE2D43}" presName="rootConnector" presStyleLbl="node3" presStyleIdx="0" presStyleCnt="5"/>
      <dgm:spPr/>
    </dgm:pt>
    <dgm:pt modelId="{D63B9CD2-0272-4B58-9AA7-38BBB2784BCB}" type="pres">
      <dgm:prSet presAssocID="{A1EBF984-258F-4179-9D5D-74BC93DE2D43}" presName="hierChild4" presStyleCnt="0"/>
      <dgm:spPr/>
    </dgm:pt>
    <dgm:pt modelId="{D665A902-E190-4125-BC6D-3D5CCA467076}" type="pres">
      <dgm:prSet presAssocID="{A1EBF984-258F-4179-9D5D-74BC93DE2D43}" presName="hierChild5" presStyleCnt="0"/>
      <dgm:spPr/>
    </dgm:pt>
    <dgm:pt modelId="{DBE3312E-9A64-47F7-8CA1-6A485A5627D5}" type="pres">
      <dgm:prSet presAssocID="{6DE6AE15-5FC8-4E56-89C6-BB2E4AE6C0BF}" presName="Name37" presStyleLbl="parChTrans1D3" presStyleIdx="1" presStyleCnt="5"/>
      <dgm:spPr/>
    </dgm:pt>
    <dgm:pt modelId="{8B51B157-E9FD-463C-A083-67CDEC71BB05}" type="pres">
      <dgm:prSet presAssocID="{4E337052-017A-4571-8F72-2F9166B6E532}" presName="hierRoot2" presStyleCnt="0">
        <dgm:presLayoutVars>
          <dgm:hierBranch val="init"/>
        </dgm:presLayoutVars>
      </dgm:prSet>
      <dgm:spPr/>
    </dgm:pt>
    <dgm:pt modelId="{40D2675A-606C-41DE-A7A2-DBD46B1CF881}" type="pres">
      <dgm:prSet presAssocID="{4E337052-017A-4571-8F72-2F9166B6E532}" presName="rootComposite" presStyleCnt="0"/>
      <dgm:spPr/>
    </dgm:pt>
    <dgm:pt modelId="{D0EF95F5-A4C2-4B08-B8CC-039C9BF43E9C}" type="pres">
      <dgm:prSet presAssocID="{4E337052-017A-4571-8F72-2F9166B6E532}" presName="rootText" presStyleLbl="node3" presStyleIdx="1" presStyleCnt="5">
        <dgm:presLayoutVars>
          <dgm:chPref val="3"/>
        </dgm:presLayoutVars>
      </dgm:prSet>
      <dgm:spPr/>
    </dgm:pt>
    <dgm:pt modelId="{61516C1C-C451-4916-9F51-D26C63C77151}" type="pres">
      <dgm:prSet presAssocID="{4E337052-017A-4571-8F72-2F9166B6E532}" presName="rootConnector" presStyleLbl="node3" presStyleIdx="1" presStyleCnt="5"/>
      <dgm:spPr/>
    </dgm:pt>
    <dgm:pt modelId="{F6C36022-40FC-42FC-AF53-1FBFA04D6DC9}" type="pres">
      <dgm:prSet presAssocID="{4E337052-017A-4571-8F72-2F9166B6E532}" presName="hierChild4" presStyleCnt="0"/>
      <dgm:spPr/>
    </dgm:pt>
    <dgm:pt modelId="{1846F68C-A5B9-42F4-A0E0-8A064AA92388}" type="pres">
      <dgm:prSet presAssocID="{4E337052-017A-4571-8F72-2F9166B6E532}" presName="hierChild5" presStyleCnt="0"/>
      <dgm:spPr/>
    </dgm:pt>
    <dgm:pt modelId="{AA1B3DB7-4793-419F-94BC-D949DAFFB6CB}" type="pres">
      <dgm:prSet presAssocID="{DCF770A7-7DCD-448B-9058-9093509AFBE0}" presName="hierChild5" presStyleCnt="0"/>
      <dgm:spPr/>
    </dgm:pt>
    <dgm:pt modelId="{56388E17-C062-4A25-86DF-0652A2EF0439}" type="pres">
      <dgm:prSet presAssocID="{1F8344B7-393F-448F-87E4-6894A67E60BF}" presName="Name37" presStyleLbl="parChTrans1D2" presStyleIdx="1" presStyleCnt="3"/>
      <dgm:spPr/>
    </dgm:pt>
    <dgm:pt modelId="{80F7B2E2-AB6C-4633-B7A2-3A619F519C7B}" type="pres">
      <dgm:prSet presAssocID="{E1FBF417-ABB4-41EE-9942-2BDE152CFE66}" presName="hierRoot2" presStyleCnt="0">
        <dgm:presLayoutVars>
          <dgm:hierBranch val="init"/>
        </dgm:presLayoutVars>
      </dgm:prSet>
      <dgm:spPr/>
    </dgm:pt>
    <dgm:pt modelId="{BD637762-C5A7-40F3-B463-1D53AF2D1CDF}" type="pres">
      <dgm:prSet presAssocID="{E1FBF417-ABB4-41EE-9942-2BDE152CFE66}" presName="rootComposite" presStyleCnt="0"/>
      <dgm:spPr/>
    </dgm:pt>
    <dgm:pt modelId="{FEC0462F-294F-41FF-A5B3-B6EF94164A27}" type="pres">
      <dgm:prSet presAssocID="{E1FBF417-ABB4-41EE-9942-2BDE152CFE66}" presName="rootText" presStyleLbl="node2" presStyleIdx="1" presStyleCnt="3" custScaleY="109523">
        <dgm:presLayoutVars>
          <dgm:chPref val="3"/>
        </dgm:presLayoutVars>
      </dgm:prSet>
      <dgm:spPr/>
    </dgm:pt>
    <dgm:pt modelId="{3568C25F-0522-4752-81DC-E084539560DA}" type="pres">
      <dgm:prSet presAssocID="{E1FBF417-ABB4-41EE-9942-2BDE152CFE66}" presName="rootConnector" presStyleLbl="node2" presStyleIdx="1" presStyleCnt="3"/>
      <dgm:spPr/>
    </dgm:pt>
    <dgm:pt modelId="{69E20AB9-9E19-4EC4-883D-2FCF1B385CDE}" type="pres">
      <dgm:prSet presAssocID="{E1FBF417-ABB4-41EE-9942-2BDE152CFE66}" presName="hierChild4" presStyleCnt="0"/>
      <dgm:spPr/>
    </dgm:pt>
    <dgm:pt modelId="{E80FF95F-092E-4762-8A32-9F447AAE9E31}" type="pres">
      <dgm:prSet presAssocID="{9D1653C4-1BB4-4953-8F6F-A126D5BEB635}" presName="Name37" presStyleLbl="parChTrans1D3" presStyleIdx="2" presStyleCnt="5"/>
      <dgm:spPr/>
    </dgm:pt>
    <dgm:pt modelId="{3F5351DF-C1D2-4F38-ADC8-41A4CB824862}" type="pres">
      <dgm:prSet presAssocID="{7E3575E1-3D65-45F6-A13C-0B7C8D42AACE}" presName="hierRoot2" presStyleCnt="0">
        <dgm:presLayoutVars>
          <dgm:hierBranch val="init"/>
        </dgm:presLayoutVars>
      </dgm:prSet>
      <dgm:spPr/>
    </dgm:pt>
    <dgm:pt modelId="{8A711F8F-4ED1-416F-96DE-49871FC3F708}" type="pres">
      <dgm:prSet presAssocID="{7E3575E1-3D65-45F6-A13C-0B7C8D42AACE}" presName="rootComposite" presStyleCnt="0"/>
      <dgm:spPr/>
    </dgm:pt>
    <dgm:pt modelId="{4FCEF338-B2C2-4936-863A-C1EB4EAC4341}" type="pres">
      <dgm:prSet presAssocID="{7E3575E1-3D65-45F6-A13C-0B7C8D42AACE}" presName="rootText" presStyleLbl="node3" presStyleIdx="2" presStyleCnt="5">
        <dgm:presLayoutVars>
          <dgm:chPref val="3"/>
        </dgm:presLayoutVars>
      </dgm:prSet>
      <dgm:spPr/>
    </dgm:pt>
    <dgm:pt modelId="{804F312E-46D6-46C6-85F2-BFF6E6B6CF83}" type="pres">
      <dgm:prSet presAssocID="{7E3575E1-3D65-45F6-A13C-0B7C8D42AACE}" presName="rootConnector" presStyleLbl="node3" presStyleIdx="2" presStyleCnt="5"/>
      <dgm:spPr/>
    </dgm:pt>
    <dgm:pt modelId="{EDF9F60D-3892-4FDB-9A92-699B103D135E}" type="pres">
      <dgm:prSet presAssocID="{7E3575E1-3D65-45F6-A13C-0B7C8D42AACE}" presName="hierChild4" presStyleCnt="0"/>
      <dgm:spPr/>
    </dgm:pt>
    <dgm:pt modelId="{9BA91D2F-937E-43E8-BD91-73A45AFB911E}" type="pres">
      <dgm:prSet presAssocID="{7E3575E1-3D65-45F6-A13C-0B7C8D42AACE}" presName="hierChild5" presStyleCnt="0"/>
      <dgm:spPr/>
    </dgm:pt>
    <dgm:pt modelId="{FF65572F-32EF-40B9-98CA-7D99E615A310}" type="pres">
      <dgm:prSet presAssocID="{726B1038-F895-48A0-A0B2-8FB92A4D4E29}" presName="Name37" presStyleLbl="parChTrans1D3" presStyleIdx="3" presStyleCnt="5"/>
      <dgm:spPr/>
    </dgm:pt>
    <dgm:pt modelId="{6E52C882-E5D1-4394-A9FD-BFC1C64E2787}" type="pres">
      <dgm:prSet presAssocID="{B9953076-97A4-48D1-BDB5-CAD0606609C4}" presName="hierRoot2" presStyleCnt="0">
        <dgm:presLayoutVars>
          <dgm:hierBranch val="init"/>
        </dgm:presLayoutVars>
      </dgm:prSet>
      <dgm:spPr/>
    </dgm:pt>
    <dgm:pt modelId="{0A0AA096-85E7-44D5-A93D-6DC465F966CB}" type="pres">
      <dgm:prSet presAssocID="{B9953076-97A4-48D1-BDB5-CAD0606609C4}" presName="rootComposite" presStyleCnt="0"/>
      <dgm:spPr/>
    </dgm:pt>
    <dgm:pt modelId="{784E381A-9E72-452A-B5C3-879F5230A0C3}" type="pres">
      <dgm:prSet presAssocID="{B9953076-97A4-48D1-BDB5-CAD0606609C4}" presName="rootText" presStyleLbl="node3" presStyleIdx="3" presStyleCnt="5">
        <dgm:presLayoutVars>
          <dgm:chPref val="3"/>
        </dgm:presLayoutVars>
      </dgm:prSet>
      <dgm:spPr/>
    </dgm:pt>
    <dgm:pt modelId="{8AFF5121-D90D-40A9-B53D-2D3F091B0FD7}" type="pres">
      <dgm:prSet presAssocID="{B9953076-97A4-48D1-BDB5-CAD0606609C4}" presName="rootConnector" presStyleLbl="node3" presStyleIdx="3" presStyleCnt="5"/>
      <dgm:spPr/>
    </dgm:pt>
    <dgm:pt modelId="{81697E0B-5948-4D8B-A7E1-4011C6AF89D4}" type="pres">
      <dgm:prSet presAssocID="{B9953076-97A4-48D1-BDB5-CAD0606609C4}" presName="hierChild4" presStyleCnt="0"/>
      <dgm:spPr/>
    </dgm:pt>
    <dgm:pt modelId="{B7623E81-6111-41FD-8A9D-8152D87F1E0D}" type="pres">
      <dgm:prSet presAssocID="{B9953076-97A4-48D1-BDB5-CAD0606609C4}" presName="hierChild5" presStyleCnt="0"/>
      <dgm:spPr/>
    </dgm:pt>
    <dgm:pt modelId="{F4777442-1204-4579-A6F7-26F562CE75FF}" type="pres">
      <dgm:prSet presAssocID="{E1FBF417-ABB4-41EE-9942-2BDE152CFE66}" presName="hierChild5" presStyleCnt="0"/>
      <dgm:spPr/>
    </dgm:pt>
    <dgm:pt modelId="{D43B7E64-C22A-45D9-B024-B7A9AED0C1C3}" type="pres">
      <dgm:prSet presAssocID="{C8329EA0-8C20-4CDD-A2B4-7AF562B07CFA}" presName="Name37" presStyleLbl="parChTrans1D2" presStyleIdx="2" presStyleCnt="3"/>
      <dgm:spPr/>
    </dgm:pt>
    <dgm:pt modelId="{79B5A7E9-3E09-4F5E-9611-8CFFB77DC1BF}" type="pres">
      <dgm:prSet presAssocID="{187F2EC7-E289-4750-8566-FA8A236F62D7}" presName="hierRoot2" presStyleCnt="0">
        <dgm:presLayoutVars>
          <dgm:hierBranch val="init"/>
        </dgm:presLayoutVars>
      </dgm:prSet>
      <dgm:spPr/>
    </dgm:pt>
    <dgm:pt modelId="{06C15E9F-0886-4BB4-9E92-B6A529196B85}" type="pres">
      <dgm:prSet presAssocID="{187F2EC7-E289-4750-8566-FA8A236F62D7}" presName="rootComposite" presStyleCnt="0"/>
      <dgm:spPr/>
    </dgm:pt>
    <dgm:pt modelId="{C4E8F6B8-A613-4C90-A3FB-F00BEA541724}" type="pres">
      <dgm:prSet presAssocID="{187F2EC7-E289-4750-8566-FA8A236F62D7}" presName="rootText" presStyleLbl="node2" presStyleIdx="2" presStyleCnt="3" custScaleY="106254">
        <dgm:presLayoutVars>
          <dgm:chPref val="3"/>
        </dgm:presLayoutVars>
      </dgm:prSet>
      <dgm:spPr/>
    </dgm:pt>
    <dgm:pt modelId="{D7947A34-3397-4698-9D17-424A6CF572B2}" type="pres">
      <dgm:prSet presAssocID="{187F2EC7-E289-4750-8566-FA8A236F62D7}" presName="rootConnector" presStyleLbl="node2" presStyleIdx="2" presStyleCnt="3"/>
      <dgm:spPr/>
    </dgm:pt>
    <dgm:pt modelId="{E11CEF87-F8E7-43CB-A07A-1698CF7D35F1}" type="pres">
      <dgm:prSet presAssocID="{187F2EC7-E289-4750-8566-FA8A236F62D7}" presName="hierChild4" presStyleCnt="0"/>
      <dgm:spPr/>
    </dgm:pt>
    <dgm:pt modelId="{E1692DE4-E824-41D9-8958-07D58E16DF94}" type="pres">
      <dgm:prSet presAssocID="{A6E7A8D8-8F6D-4CDC-A0B1-CA868E7E33EC}" presName="Name37" presStyleLbl="parChTrans1D3" presStyleIdx="4" presStyleCnt="5"/>
      <dgm:spPr/>
    </dgm:pt>
    <dgm:pt modelId="{3D414171-6ADE-4419-971F-01701B80569D}" type="pres">
      <dgm:prSet presAssocID="{4998C4FD-9A8D-4614-AC61-360A6DA5D9E8}" presName="hierRoot2" presStyleCnt="0">
        <dgm:presLayoutVars>
          <dgm:hierBranch val="init"/>
        </dgm:presLayoutVars>
      </dgm:prSet>
      <dgm:spPr/>
    </dgm:pt>
    <dgm:pt modelId="{615E73B2-0F7A-4E4B-93E4-EE9E8367EE79}" type="pres">
      <dgm:prSet presAssocID="{4998C4FD-9A8D-4614-AC61-360A6DA5D9E8}" presName="rootComposite" presStyleCnt="0"/>
      <dgm:spPr/>
    </dgm:pt>
    <dgm:pt modelId="{ACA18474-22F6-4498-A5B0-5C8342E63124}" type="pres">
      <dgm:prSet presAssocID="{4998C4FD-9A8D-4614-AC61-360A6DA5D9E8}" presName="rootText" presStyleLbl="node3" presStyleIdx="4" presStyleCnt="5">
        <dgm:presLayoutVars>
          <dgm:chPref val="3"/>
        </dgm:presLayoutVars>
      </dgm:prSet>
      <dgm:spPr/>
    </dgm:pt>
    <dgm:pt modelId="{7F18FC18-C041-4B5B-986A-1CEE0004ECB9}" type="pres">
      <dgm:prSet presAssocID="{4998C4FD-9A8D-4614-AC61-360A6DA5D9E8}" presName="rootConnector" presStyleLbl="node3" presStyleIdx="4" presStyleCnt="5"/>
      <dgm:spPr/>
    </dgm:pt>
    <dgm:pt modelId="{1620E908-8E78-4BFD-9A62-FD20045BB185}" type="pres">
      <dgm:prSet presAssocID="{4998C4FD-9A8D-4614-AC61-360A6DA5D9E8}" presName="hierChild4" presStyleCnt="0"/>
      <dgm:spPr/>
    </dgm:pt>
    <dgm:pt modelId="{F5CE793B-928E-4E03-89DB-04F5895D823A}" type="pres">
      <dgm:prSet presAssocID="{4998C4FD-9A8D-4614-AC61-360A6DA5D9E8}" presName="hierChild5" presStyleCnt="0"/>
      <dgm:spPr/>
    </dgm:pt>
    <dgm:pt modelId="{0F12B2A9-60B4-4940-B18B-0D92A331BB23}" type="pres">
      <dgm:prSet presAssocID="{187F2EC7-E289-4750-8566-FA8A236F62D7}" presName="hierChild5" presStyleCnt="0"/>
      <dgm:spPr/>
    </dgm:pt>
    <dgm:pt modelId="{48A87B06-2686-493B-9676-0E73EBA3CDFD}" type="pres">
      <dgm:prSet presAssocID="{C47881CE-CC45-4EE0-9C66-CD926C29C589}" presName="hierChild3" presStyleCnt="0"/>
      <dgm:spPr/>
    </dgm:pt>
  </dgm:ptLst>
  <dgm:cxnLst>
    <dgm:cxn modelId="{CA833407-F379-4FC6-9AD7-D3630D8D3479}" type="presOf" srcId="{E1FBF417-ABB4-41EE-9942-2BDE152CFE66}" destId="{FEC0462F-294F-41FF-A5B3-B6EF94164A27}" srcOrd="0" destOrd="0" presId="urn:microsoft.com/office/officeart/2005/8/layout/orgChart1"/>
    <dgm:cxn modelId="{0722990A-C5DE-4ED5-AD7D-2D996CB14F79}" type="presOf" srcId="{726B1038-F895-48A0-A0B2-8FB92A4D4E29}" destId="{FF65572F-32EF-40B9-98CA-7D99E615A310}" srcOrd="0" destOrd="0" presId="urn:microsoft.com/office/officeart/2005/8/layout/orgChart1"/>
    <dgm:cxn modelId="{403EE80D-D894-4B33-9779-EDADE8122980}" type="presOf" srcId="{C8329EA0-8C20-4CDD-A2B4-7AF562B07CFA}" destId="{D43B7E64-C22A-45D9-B024-B7A9AED0C1C3}" srcOrd="0" destOrd="0" presId="urn:microsoft.com/office/officeart/2005/8/layout/orgChart1"/>
    <dgm:cxn modelId="{A09A6311-EC06-47F4-AE04-8DB636D43732}" type="presOf" srcId="{64C329D8-C7C1-40FF-8B92-B9FAC0E126AB}" destId="{36E950AC-307C-49A6-87D3-1CBDE44C5DBF}" srcOrd="0" destOrd="0" presId="urn:microsoft.com/office/officeart/2005/8/layout/orgChart1"/>
    <dgm:cxn modelId="{0A33DD14-68D3-4AE4-B9F2-FADFD47CEFDB}" type="presOf" srcId="{187F2EC7-E289-4750-8566-FA8A236F62D7}" destId="{D7947A34-3397-4698-9D17-424A6CF572B2}" srcOrd="1" destOrd="0" presId="urn:microsoft.com/office/officeart/2005/8/layout/orgChart1"/>
    <dgm:cxn modelId="{D80E3A1A-3CA0-4429-AC63-071B3AE061BE}" type="presOf" srcId="{4998C4FD-9A8D-4614-AC61-360A6DA5D9E8}" destId="{7F18FC18-C041-4B5B-986A-1CEE0004ECB9}" srcOrd="1" destOrd="0" presId="urn:microsoft.com/office/officeart/2005/8/layout/orgChart1"/>
    <dgm:cxn modelId="{01E5391B-08D6-4FE8-A70F-AEA3E5D35AFD}" type="presOf" srcId="{4998C4FD-9A8D-4614-AC61-360A6DA5D9E8}" destId="{ACA18474-22F6-4498-A5B0-5C8342E63124}" srcOrd="0" destOrd="0" presId="urn:microsoft.com/office/officeart/2005/8/layout/orgChart1"/>
    <dgm:cxn modelId="{F3BC0523-E04A-4D43-BE6E-AF3ECA42F355}" type="presOf" srcId="{E1FBF417-ABB4-41EE-9942-2BDE152CFE66}" destId="{3568C25F-0522-4752-81DC-E084539560DA}" srcOrd="1" destOrd="0" presId="urn:microsoft.com/office/officeart/2005/8/layout/orgChart1"/>
    <dgm:cxn modelId="{1B29A830-5132-4BA0-AED0-78551EE03944}" srcId="{C47881CE-CC45-4EE0-9C66-CD926C29C589}" destId="{E1FBF417-ABB4-41EE-9942-2BDE152CFE66}" srcOrd="1" destOrd="0" parTransId="{1F8344B7-393F-448F-87E4-6894A67E60BF}" sibTransId="{B3478A3C-A7F8-4F49-B1E5-A937270ED6F6}"/>
    <dgm:cxn modelId="{38D74F3A-D63E-41F6-AA1B-62FD50A6B042}" type="presOf" srcId="{A1EBF984-258F-4179-9D5D-74BC93DE2D43}" destId="{E3F679D2-B6B7-4DD3-AE39-C90FE694DBB7}" srcOrd="0" destOrd="0" presId="urn:microsoft.com/office/officeart/2005/8/layout/orgChart1"/>
    <dgm:cxn modelId="{B7173E3B-703F-41BE-9024-0E2C0A2CE926}" type="presOf" srcId="{7E3575E1-3D65-45F6-A13C-0B7C8D42AACE}" destId="{804F312E-46D6-46C6-85F2-BFF6E6B6CF83}" srcOrd="1" destOrd="0" presId="urn:microsoft.com/office/officeart/2005/8/layout/orgChart1"/>
    <dgm:cxn modelId="{8CF08C3C-29EA-4F63-9CB8-05726B6D3745}" srcId="{187F2EC7-E289-4750-8566-FA8A236F62D7}" destId="{4998C4FD-9A8D-4614-AC61-360A6DA5D9E8}" srcOrd="0" destOrd="0" parTransId="{A6E7A8D8-8F6D-4CDC-A0B1-CA868E7E33EC}" sibTransId="{7EA6CAE2-919A-4503-9B06-3EBD3B7EFB1B}"/>
    <dgm:cxn modelId="{37BDF43D-439E-459C-B993-5063E7E1CF3D}" type="presOf" srcId="{187F2EC7-E289-4750-8566-FA8A236F62D7}" destId="{C4E8F6B8-A613-4C90-A3FB-F00BEA541724}" srcOrd="0" destOrd="0" presId="urn:microsoft.com/office/officeart/2005/8/layout/orgChart1"/>
    <dgm:cxn modelId="{7F9A475C-D20D-4426-85CF-F48B9BE2551D}" srcId="{E285C1E3-8A72-4245-A9C5-97609B4F065E}" destId="{C47881CE-CC45-4EE0-9C66-CD926C29C589}" srcOrd="0" destOrd="0" parTransId="{6EF90140-074B-4CC6-A11E-0A2207D6C814}" sibTransId="{588585D2-4277-493E-AE70-DD0FDB87E22A}"/>
    <dgm:cxn modelId="{6140785D-9AD6-495B-B67E-9061F172C240}" type="presOf" srcId="{6DE6AE15-5FC8-4E56-89C6-BB2E4AE6C0BF}" destId="{DBE3312E-9A64-47F7-8CA1-6A485A5627D5}" srcOrd="0" destOrd="0" presId="urn:microsoft.com/office/officeart/2005/8/layout/orgChart1"/>
    <dgm:cxn modelId="{3931444B-3C36-451D-912A-C355059D7859}" type="presOf" srcId="{9D1653C4-1BB4-4953-8F6F-A126D5BEB635}" destId="{E80FF95F-092E-4762-8A32-9F447AAE9E31}" srcOrd="0" destOrd="0" presId="urn:microsoft.com/office/officeart/2005/8/layout/orgChart1"/>
    <dgm:cxn modelId="{0CF0554F-8412-4678-80D2-37FAAF07415A}" type="presOf" srcId="{7E3575E1-3D65-45F6-A13C-0B7C8D42AACE}" destId="{4FCEF338-B2C2-4936-863A-C1EB4EAC4341}" srcOrd="0" destOrd="0" presId="urn:microsoft.com/office/officeart/2005/8/layout/orgChart1"/>
    <dgm:cxn modelId="{03E8347B-F1EF-476C-BBAD-31046844063D}" type="presOf" srcId="{C47881CE-CC45-4EE0-9C66-CD926C29C589}" destId="{98B5B899-E770-406C-9550-D26A3F5D0902}" srcOrd="1" destOrd="0" presId="urn:microsoft.com/office/officeart/2005/8/layout/orgChart1"/>
    <dgm:cxn modelId="{1FCDCF88-CF7F-4321-839C-9D367542A15D}" type="presOf" srcId="{A1EBF984-258F-4179-9D5D-74BC93DE2D43}" destId="{D6D65AD7-2544-47EE-A81E-DB1BF7AA76DF}" srcOrd="1" destOrd="0" presId="urn:microsoft.com/office/officeart/2005/8/layout/orgChart1"/>
    <dgm:cxn modelId="{FFB1DB99-2E4B-42E0-B5E0-2278B1F60A7B}" type="presOf" srcId="{A6E7A8D8-8F6D-4CDC-A0B1-CA868E7E33EC}" destId="{E1692DE4-E824-41D9-8958-07D58E16DF94}" srcOrd="0" destOrd="0" presId="urn:microsoft.com/office/officeart/2005/8/layout/orgChart1"/>
    <dgm:cxn modelId="{C6DEE39E-72D2-4B2F-A37C-8B2BA533FD9D}" type="presOf" srcId="{B9953076-97A4-48D1-BDB5-CAD0606609C4}" destId="{784E381A-9E72-452A-B5C3-879F5230A0C3}" srcOrd="0" destOrd="0" presId="urn:microsoft.com/office/officeart/2005/8/layout/orgChart1"/>
    <dgm:cxn modelId="{1EA91CA2-8B34-492A-88D8-01CA14DEBEF7}" type="presOf" srcId="{1F8344B7-393F-448F-87E4-6894A67E60BF}" destId="{56388E17-C062-4A25-86DF-0652A2EF0439}" srcOrd="0" destOrd="0" presId="urn:microsoft.com/office/officeart/2005/8/layout/orgChart1"/>
    <dgm:cxn modelId="{DF5F4FA7-88C6-4727-AE20-7E894F9AF590}" srcId="{E1FBF417-ABB4-41EE-9942-2BDE152CFE66}" destId="{7E3575E1-3D65-45F6-A13C-0B7C8D42AACE}" srcOrd="0" destOrd="0" parTransId="{9D1653C4-1BB4-4953-8F6F-A126D5BEB635}" sibTransId="{28FC5F05-5CE9-414D-AC63-97D3CBC43AEE}"/>
    <dgm:cxn modelId="{92633CAA-B77A-426C-995E-BDC3AF6A2247}" srcId="{DCF770A7-7DCD-448B-9058-9093509AFBE0}" destId="{4E337052-017A-4571-8F72-2F9166B6E532}" srcOrd="1" destOrd="0" parTransId="{6DE6AE15-5FC8-4E56-89C6-BB2E4AE6C0BF}" sibTransId="{E82FA755-723B-4970-A55A-D31DFD5DC572}"/>
    <dgm:cxn modelId="{58B668AA-D731-473A-9BDB-7013504FB1DB}" srcId="{DCF770A7-7DCD-448B-9058-9093509AFBE0}" destId="{A1EBF984-258F-4179-9D5D-74BC93DE2D43}" srcOrd="0" destOrd="0" parTransId="{64C329D8-C7C1-40FF-8B92-B9FAC0E126AB}" sibTransId="{E656A046-8FD4-4FBE-96F3-F898E8D245B2}"/>
    <dgm:cxn modelId="{96965AAB-2C5C-492F-AE92-BC625F3239CD}" type="presOf" srcId="{DCF770A7-7DCD-448B-9058-9093509AFBE0}" destId="{68AFF768-26C2-4FF3-8DDB-154F1FAB80F2}" srcOrd="1" destOrd="0" presId="urn:microsoft.com/office/officeart/2005/8/layout/orgChart1"/>
    <dgm:cxn modelId="{6C01AEC4-0E75-4897-9622-BF3D1730F0C9}" type="presOf" srcId="{E285C1E3-8A72-4245-A9C5-97609B4F065E}" destId="{2F4DCCE6-036A-47C1-9E74-87467B65BC23}" srcOrd="0" destOrd="0" presId="urn:microsoft.com/office/officeart/2005/8/layout/orgChart1"/>
    <dgm:cxn modelId="{ABD060C7-2BFC-4976-B4D0-098C1B803F12}" srcId="{E1FBF417-ABB4-41EE-9942-2BDE152CFE66}" destId="{B9953076-97A4-48D1-BDB5-CAD0606609C4}" srcOrd="1" destOrd="0" parTransId="{726B1038-F895-48A0-A0B2-8FB92A4D4E29}" sibTransId="{CCBB871C-8931-4EAC-A3EE-3228E0F01189}"/>
    <dgm:cxn modelId="{2028C3CD-17D5-4777-ABE4-B1EC572E717D}" type="presOf" srcId="{B9953076-97A4-48D1-BDB5-CAD0606609C4}" destId="{8AFF5121-D90D-40A9-B53D-2D3F091B0FD7}" srcOrd="1" destOrd="0" presId="urn:microsoft.com/office/officeart/2005/8/layout/orgChart1"/>
    <dgm:cxn modelId="{103E3ED0-0666-4039-A9E1-45E29AF49535}" srcId="{C47881CE-CC45-4EE0-9C66-CD926C29C589}" destId="{DCF770A7-7DCD-448B-9058-9093509AFBE0}" srcOrd="0" destOrd="0" parTransId="{7080E527-0B1A-45E7-B01B-EDC088CB159F}" sibTransId="{AA1C83BC-762E-4A57-8B8B-D6F597811AA1}"/>
    <dgm:cxn modelId="{9E3DB8D0-8D2B-434F-889B-26D9B7D09FB1}" srcId="{C47881CE-CC45-4EE0-9C66-CD926C29C589}" destId="{187F2EC7-E289-4750-8566-FA8A236F62D7}" srcOrd="2" destOrd="0" parTransId="{C8329EA0-8C20-4CDD-A2B4-7AF562B07CFA}" sibTransId="{0F8B9B8D-712B-4CC3-BCFD-CA6B1A137904}"/>
    <dgm:cxn modelId="{4B6ED6E2-6B76-4F34-BB91-D2E20F664B2E}" type="presOf" srcId="{4E337052-017A-4571-8F72-2F9166B6E532}" destId="{61516C1C-C451-4916-9F51-D26C63C77151}" srcOrd="1" destOrd="0" presId="urn:microsoft.com/office/officeart/2005/8/layout/orgChart1"/>
    <dgm:cxn modelId="{9D24BFE6-1D26-4C7E-B125-B0573725CE82}" type="presOf" srcId="{DCF770A7-7DCD-448B-9058-9093509AFBE0}" destId="{26C629AF-38DC-40C1-928F-5123B96509E5}" srcOrd="0" destOrd="0" presId="urn:microsoft.com/office/officeart/2005/8/layout/orgChart1"/>
    <dgm:cxn modelId="{2EF139E9-377B-4EFF-8603-568A2A211285}" type="presOf" srcId="{7080E527-0B1A-45E7-B01B-EDC088CB159F}" destId="{C4E0D1BD-6196-4066-BF5E-1492B203FB1C}" srcOrd="0" destOrd="0" presId="urn:microsoft.com/office/officeart/2005/8/layout/orgChart1"/>
    <dgm:cxn modelId="{709817EA-12D3-4386-AD8E-951CED0E4762}" type="presOf" srcId="{4E337052-017A-4571-8F72-2F9166B6E532}" destId="{D0EF95F5-A4C2-4B08-B8CC-039C9BF43E9C}" srcOrd="0" destOrd="0" presId="urn:microsoft.com/office/officeart/2005/8/layout/orgChart1"/>
    <dgm:cxn modelId="{3CAEA7FF-978F-4600-97B8-CBF305579EFF}" type="presOf" srcId="{C47881CE-CC45-4EE0-9C66-CD926C29C589}" destId="{565EEADA-CE3D-4163-80F4-CB70724EEA75}" srcOrd="0" destOrd="0" presId="urn:microsoft.com/office/officeart/2005/8/layout/orgChart1"/>
    <dgm:cxn modelId="{7D5CCA5C-5292-4B8C-8D5C-43E546DAFCB2}" type="presParOf" srcId="{2F4DCCE6-036A-47C1-9E74-87467B65BC23}" destId="{0A319DCF-BFE8-4748-8340-D7B84A0D395F}" srcOrd="0" destOrd="0" presId="urn:microsoft.com/office/officeart/2005/8/layout/orgChart1"/>
    <dgm:cxn modelId="{2846C377-2571-4961-A257-F2EAA151FFE6}" type="presParOf" srcId="{0A319DCF-BFE8-4748-8340-D7B84A0D395F}" destId="{2E20D26C-A9C2-4190-8908-7A10AEE24B05}" srcOrd="0" destOrd="0" presId="urn:microsoft.com/office/officeart/2005/8/layout/orgChart1"/>
    <dgm:cxn modelId="{F9B5CD7A-7455-46C6-A677-19BE37200129}" type="presParOf" srcId="{2E20D26C-A9C2-4190-8908-7A10AEE24B05}" destId="{565EEADA-CE3D-4163-80F4-CB70724EEA75}" srcOrd="0" destOrd="0" presId="urn:microsoft.com/office/officeart/2005/8/layout/orgChart1"/>
    <dgm:cxn modelId="{F2E25B03-C50A-41FD-98F4-FC048484B66B}" type="presParOf" srcId="{2E20D26C-A9C2-4190-8908-7A10AEE24B05}" destId="{98B5B899-E770-406C-9550-D26A3F5D0902}" srcOrd="1" destOrd="0" presId="urn:microsoft.com/office/officeart/2005/8/layout/orgChart1"/>
    <dgm:cxn modelId="{E6FB2EB3-B6C9-4BC0-982A-837C12FC6332}" type="presParOf" srcId="{0A319DCF-BFE8-4748-8340-D7B84A0D395F}" destId="{9F44393F-18A3-4102-9506-B33B865240EC}" srcOrd="1" destOrd="0" presId="urn:microsoft.com/office/officeart/2005/8/layout/orgChart1"/>
    <dgm:cxn modelId="{D302EFE0-3D61-4220-B249-A5A98F0021C0}" type="presParOf" srcId="{9F44393F-18A3-4102-9506-B33B865240EC}" destId="{C4E0D1BD-6196-4066-BF5E-1492B203FB1C}" srcOrd="0" destOrd="0" presId="urn:microsoft.com/office/officeart/2005/8/layout/orgChart1"/>
    <dgm:cxn modelId="{89E89815-C915-47E3-BB0C-E26BEE5C8BEB}" type="presParOf" srcId="{9F44393F-18A3-4102-9506-B33B865240EC}" destId="{CA9596B1-72D7-48A2-88EA-3107F4221DCC}" srcOrd="1" destOrd="0" presId="urn:microsoft.com/office/officeart/2005/8/layout/orgChart1"/>
    <dgm:cxn modelId="{344AA4D9-DC91-4B92-BDE7-C2E4246FA6FF}" type="presParOf" srcId="{CA9596B1-72D7-48A2-88EA-3107F4221DCC}" destId="{C581F4CF-40EA-45A5-8ED3-A2A777D0CC36}" srcOrd="0" destOrd="0" presId="urn:microsoft.com/office/officeart/2005/8/layout/orgChart1"/>
    <dgm:cxn modelId="{87FBF702-42DD-4AD0-AC96-1503A07EADB5}" type="presParOf" srcId="{C581F4CF-40EA-45A5-8ED3-A2A777D0CC36}" destId="{26C629AF-38DC-40C1-928F-5123B96509E5}" srcOrd="0" destOrd="0" presId="urn:microsoft.com/office/officeart/2005/8/layout/orgChart1"/>
    <dgm:cxn modelId="{29AB3C48-46B5-4B8F-B1DF-B73F57F5F508}" type="presParOf" srcId="{C581F4CF-40EA-45A5-8ED3-A2A777D0CC36}" destId="{68AFF768-26C2-4FF3-8DDB-154F1FAB80F2}" srcOrd="1" destOrd="0" presId="urn:microsoft.com/office/officeart/2005/8/layout/orgChart1"/>
    <dgm:cxn modelId="{8D64431C-AD97-4712-BF67-DA15EB4CBC76}" type="presParOf" srcId="{CA9596B1-72D7-48A2-88EA-3107F4221DCC}" destId="{6D1CC717-625A-41A5-A41B-F16E984EA9E2}" srcOrd="1" destOrd="0" presId="urn:microsoft.com/office/officeart/2005/8/layout/orgChart1"/>
    <dgm:cxn modelId="{660D4BD7-818C-4D8F-B96B-390CA4249D89}" type="presParOf" srcId="{6D1CC717-625A-41A5-A41B-F16E984EA9E2}" destId="{36E950AC-307C-49A6-87D3-1CBDE44C5DBF}" srcOrd="0" destOrd="0" presId="urn:microsoft.com/office/officeart/2005/8/layout/orgChart1"/>
    <dgm:cxn modelId="{3B29B13B-F50B-45F0-BCD4-C9704230EAF0}" type="presParOf" srcId="{6D1CC717-625A-41A5-A41B-F16E984EA9E2}" destId="{B2D4BD50-5A18-4BAF-B915-26B799BBC357}" srcOrd="1" destOrd="0" presId="urn:microsoft.com/office/officeart/2005/8/layout/orgChart1"/>
    <dgm:cxn modelId="{15E01353-A66E-47B4-82DC-FD9D77C65195}" type="presParOf" srcId="{B2D4BD50-5A18-4BAF-B915-26B799BBC357}" destId="{931BBD30-0BCD-40B9-AA63-C1573EBD72F1}" srcOrd="0" destOrd="0" presId="urn:microsoft.com/office/officeart/2005/8/layout/orgChart1"/>
    <dgm:cxn modelId="{6C84F14F-04A7-4EEC-8ECE-0BCF099D196C}" type="presParOf" srcId="{931BBD30-0BCD-40B9-AA63-C1573EBD72F1}" destId="{E3F679D2-B6B7-4DD3-AE39-C90FE694DBB7}" srcOrd="0" destOrd="0" presId="urn:microsoft.com/office/officeart/2005/8/layout/orgChart1"/>
    <dgm:cxn modelId="{AD7B626D-0A9D-491F-80F5-6FDF538F263E}" type="presParOf" srcId="{931BBD30-0BCD-40B9-AA63-C1573EBD72F1}" destId="{D6D65AD7-2544-47EE-A81E-DB1BF7AA76DF}" srcOrd="1" destOrd="0" presId="urn:microsoft.com/office/officeart/2005/8/layout/orgChart1"/>
    <dgm:cxn modelId="{B06C90BF-0812-4E42-A578-55661AC34AEB}" type="presParOf" srcId="{B2D4BD50-5A18-4BAF-B915-26B799BBC357}" destId="{D63B9CD2-0272-4B58-9AA7-38BBB2784BCB}" srcOrd="1" destOrd="0" presId="urn:microsoft.com/office/officeart/2005/8/layout/orgChart1"/>
    <dgm:cxn modelId="{03A2D3A2-D420-402A-AE1C-244523A9D0A4}" type="presParOf" srcId="{B2D4BD50-5A18-4BAF-B915-26B799BBC357}" destId="{D665A902-E190-4125-BC6D-3D5CCA467076}" srcOrd="2" destOrd="0" presId="urn:microsoft.com/office/officeart/2005/8/layout/orgChart1"/>
    <dgm:cxn modelId="{1DA16003-050A-401B-B7C3-47D63B7FA801}" type="presParOf" srcId="{6D1CC717-625A-41A5-A41B-F16E984EA9E2}" destId="{DBE3312E-9A64-47F7-8CA1-6A485A5627D5}" srcOrd="2" destOrd="0" presId="urn:microsoft.com/office/officeart/2005/8/layout/orgChart1"/>
    <dgm:cxn modelId="{DD9A2585-759C-44A0-9F72-BC950953F5AF}" type="presParOf" srcId="{6D1CC717-625A-41A5-A41B-F16E984EA9E2}" destId="{8B51B157-E9FD-463C-A083-67CDEC71BB05}" srcOrd="3" destOrd="0" presId="urn:microsoft.com/office/officeart/2005/8/layout/orgChart1"/>
    <dgm:cxn modelId="{0122D95F-7671-4DA0-96B9-28544EF1FA95}" type="presParOf" srcId="{8B51B157-E9FD-463C-A083-67CDEC71BB05}" destId="{40D2675A-606C-41DE-A7A2-DBD46B1CF881}" srcOrd="0" destOrd="0" presId="urn:microsoft.com/office/officeart/2005/8/layout/orgChart1"/>
    <dgm:cxn modelId="{C5DAEC14-D37A-4408-A48D-7765A1BCC411}" type="presParOf" srcId="{40D2675A-606C-41DE-A7A2-DBD46B1CF881}" destId="{D0EF95F5-A4C2-4B08-B8CC-039C9BF43E9C}" srcOrd="0" destOrd="0" presId="urn:microsoft.com/office/officeart/2005/8/layout/orgChart1"/>
    <dgm:cxn modelId="{8AAECCBD-4A04-41F1-86F0-D745DD4913EF}" type="presParOf" srcId="{40D2675A-606C-41DE-A7A2-DBD46B1CF881}" destId="{61516C1C-C451-4916-9F51-D26C63C77151}" srcOrd="1" destOrd="0" presId="urn:microsoft.com/office/officeart/2005/8/layout/orgChart1"/>
    <dgm:cxn modelId="{E6B5AB83-B2FD-4CAA-8D46-BE5455BA50B2}" type="presParOf" srcId="{8B51B157-E9FD-463C-A083-67CDEC71BB05}" destId="{F6C36022-40FC-42FC-AF53-1FBFA04D6DC9}" srcOrd="1" destOrd="0" presId="urn:microsoft.com/office/officeart/2005/8/layout/orgChart1"/>
    <dgm:cxn modelId="{E880AC12-0F48-417E-8D72-25421E9D4864}" type="presParOf" srcId="{8B51B157-E9FD-463C-A083-67CDEC71BB05}" destId="{1846F68C-A5B9-42F4-A0E0-8A064AA92388}" srcOrd="2" destOrd="0" presId="urn:microsoft.com/office/officeart/2005/8/layout/orgChart1"/>
    <dgm:cxn modelId="{9C9B9E79-782D-4B2C-B0C6-B475CCE00D27}" type="presParOf" srcId="{CA9596B1-72D7-48A2-88EA-3107F4221DCC}" destId="{AA1B3DB7-4793-419F-94BC-D949DAFFB6CB}" srcOrd="2" destOrd="0" presId="urn:microsoft.com/office/officeart/2005/8/layout/orgChart1"/>
    <dgm:cxn modelId="{4509439A-85C5-43B2-9615-C0AA2BC5C360}" type="presParOf" srcId="{9F44393F-18A3-4102-9506-B33B865240EC}" destId="{56388E17-C062-4A25-86DF-0652A2EF0439}" srcOrd="2" destOrd="0" presId="urn:microsoft.com/office/officeart/2005/8/layout/orgChart1"/>
    <dgm:cxn modelId="{924C8861-ADCA-41B2-9860-4F11E8491857}" type="presParOf" srcId="{9F44393F-18A3-4102-9506-B33B865240EC}" destId="{80F7B2E2-AB6C-4633-B7A2-3A619F519C7B}" srcOrd="3" destOrd="0" presId="urn:microsoft.com/office/officeart/2005/8/layout/orgChart1"/>
    <dgm:cxn modelId="{66E108E0-7705-43F1-AE8C-ED28C325D474}" type="presParOf" srcId="{80F7B2E2-AB6C-4633-B7A2-3A619F519C7B}" destId="{BD637762-C5A7-40F3-B463-1D53AF2D1CDF}" srcOrd="0" destOrd="0" presId="urn:microsoft.com/office/officeart/2005/8/layout/orgChart1"/>
    <dgm:cxn modelId="{3CF4F8AC-1481-4B78-91D2-2C9BA8D87D6D}" type="presParOf" srcId="{BD637762-C5A7-40F3-B463-1D53AF2D1CDF}" destId="{FEC0462F-294F-41FF-A5B3-B6EF94164A27}" srcOrd="0" destOrd="0" presId="urn:microsoft.com/office/officeart/2005/8/layout/orgChart1"/>
    <dgm:cxn modelId="{93201FC7-568A-40AA-91FA-DB39673F6E4A}" type="presParOf" srcId="{BD637762-C5A7-40F3-B463-1D53AF2D1CDF}" destId="{3568C25F-0522-4752-81DC-E084539560DA}" srcOrd="1" destOrd="0" presId="urn:microsoft.com/office/officeart/2005/8/layout/orgChart1"/>
    <dgm:cxn modelId="{756F33B6-6A76-434D-9AF2-67A49B55585A}" type="presParOf" srcId="{80F7B2E2-AB6C-4633-B7A2-3A619F519C7B}" destId="{69E20AB9-9E19-4EC4-883D-2FCF1B385CDE}" srcOrd="1" destOrd="0" presId="urn:microsoft.com/office/officeart/2005/8/layout/orgChart1"/>
    <dgm:cxn modelId="{72CC4838-B483-4C2D-9724-54EC6D4400B7}" type="presParOf" srcId="{69E20AB9-9E19-4EC4-883D-2FCF1B385CDE}" destId="{E80FF95F-092E-4762-8A32-9F447AAE9E31}" srcOrd="0" destOrd="0" presId="urn:microsoft.com/office/officeart/2005/8/layout/orgChart1"/>
    <dgm:cxn modelId="{B3CBC942-7B5A-454F-8851-7FABF7F6B100}" type="presParOf" srcId="{69E20AB9-9E19-4EC4-883D-2FCF1B385CDE}" destId="{3F5351DF-C1D2-4F38-ADC8-41A4CB824862}" srcOrd="1" destOrd="0" presId="urn:microsoft.com/office/officeart/2005/8/layout/orgChart1"/>
    <dgm:cxn modelId="{081BCEFC-C74F-4032-BFC3-AFA41E8D8704}" type="presParOf" srcId="{3F5351DF-C1D2-4F38-ADC8-41A4CB824862}" destId="{8A711F8F-4ED1-416F-96DE-49871FC3F708}" srcOrd="0" destOrd="0" presId="urn:microsoft.com/office/officeart/2005/8/layout/orgChart1"/>
    <dgm:cxn modelId="{4351B0AD-8C80-4162-B5A4-721D61DFA148}" type="presParOf" srcId="{8A711F8F-4ED1-416F-96DE-49871FC3F708}" destId="{4FCEF338-B2C2-4936-863A-C1EB4EAC4341}" srcOrd="0" destOrd="0" presId="urn:microsoft.com/office/officeart/2005/8/layout/orgChart1"/>
    <dgm:cxn modelId="{BD89B52B-769D-4EEA-B354-FAA7141EBC19}" type="presParOf" srcId="{8A711F8F-4ED1-416F-96DE-49871FC3F708}" destId="{804F312E-46D6-46C6-85F2-BFF6E6B6CF83}" srcOrd="1" destOrd="0" presId="urn:microsoft.com/office/officeart/2005/8/layout/orgChart1"/>
    <dgm:cxn modelId="{48B36475-A7C5-4AF1-9332-449AFE540C60}" type="presParOf" srcId="{3F5351DF-C1D2-4F38-ADC8-41A4CB824862}" destId="{EDF9F60D-3892-4FDB-9A92-699B103D135E}" srcOrd="1" destOrd="0" presId="urn:microsoft.com/office/officeart/2005/8/layout/orgChart1"/>
    <dgm:cxn modelId="{80A7B991-3ACA-4BA8-9C64-5482DDAF57FF}" type="presParOf" srcId="{3F5351DF-C1D2-4F38-ADC8-41A4CB824862}" destId="{9BA91D2F-937E-43E8-BD91-73A45AFB911E}" srcOrd="2" destOrd="0" presId="urn:microsoft.com/office/officeart/2005/8/layout/orgChart1"/>
    <dgm:cxn modelId="{031881B9-9C67-4B07-8ED7-31D75415B49E}" type="presParOf" srcId="{69E20AB9-9E19-4EC4-883D-2FCF1B385CDE}" destId="{FF65572F-32EF-40B9-98CA-7D99E615A310}" srcOrd="2" destOrd="0" presId="urn:microsoft.com/office/officeart/2005/8/layout/orgChart1"/>
    <dgm:cxn modelId="{46213381-B8E3-4D01-A197-9AB576100E48}" type="presParOf" srcId="{69E20AB9-9E19-4EC4-883D-2FCF1B385CDE}" destId="{6E52C882-E5D1-4394-A9FD-BFC1C64E2787}" srcOrd="3" destOrd="0" presId="urn:microsoft.com/office/officeart/2005/8/layout/orgChart1"/>
    <dgm:cxn modelId="{D5ECDE59-1D4A-41B6-A606-458EB1EB60D4}" type="presParOf" srcId="{6E52C882-E5D1-4394-A9FD-BFC1C64E2787}" destId="{0A0AA096-85E7-44D5-A93D-6DC465F966CB}" srcOrd="0" destOrd="0" presId="urn:microsoft.com/office/officeart/2005/8/layout/orgChart1"/>
    <dgm:cxn modelId="{8C5080BE-4510-4973-8635-67B12BD5F638}" type="presParOf" srcId="{0A0AA096-85E7-44D5-A93D-6DC465F966CB}" destId="{784E381A-9E72-452A-B5C3-879F5230A0C3}" srcOrd="0" destOrd="0" presId="urn:microsoft.com/office/officeart/2005/8/layout/orgChart1"/>
    <dgm:cxn modelId="{4F488F29-4715-4670-926B-B7D476CB4269}" type="presParOf" srcId="{0A0AA096-85E7-44D5-A93D-6DC465F966CB}" destId="{8AFF5121-D90D-40A9-B53D-2D3F091B0FD7}" srcOrd="1" destOrd="0" presId="urn:microsoft.com/office/officeart/2005/8/layout/orgChart1"/>
    <dgm:cxn modelId="{2062F3AE-FE8F-4014-A262-089218075179}" type="presParOf" srcId="{6E52C882-E5D1-4394-A9FD-BFC1C64E2787}" destId="{81697E0B-5948-4D8B-A7E1-4011C6AF89D4}" srcOrd="1" destOrd="0" presId="urn:microsoft.com/office/officeart/2005/8/layout/orgChart1"/>
    <dgm:cxn modelId="{25EDBA0F-BF5E-4E45-A5EF-F2D508519553}" type="presParOf" srcId="{6E52C882-E5D1-4394-A9FD-BFC1C64E2787}" destId="{B7623E81-6111-41FD-8A9D-8152D87F1E0D}" srcOrd="2" destOrd="0" presId="urn:microsoft.com/office/officeart/2005/8/layout/orgChart1"/>
    <dgm:cxn modelId="{22854FD8-5AA3-4DFB-A942-56BB60C7D6B2}" type="presParOf" srcId="{80F7B2E2-AB6C-4633-B7A2-3A619F519C7B}" destId="{F4777442-1204-4579-A6F7-26F562CE75FF}" srcOrd="2" destOrd="0" presId="urn:microsoft.com/office/officeart/2005/8/layout/orgChart1"/>
    <dgm:cxn modelId="{108C7C7B-9D7F-4C14-BC5C-D735C366420C}" type="presParOf" srcId="{9F44393F-18A3-4102-9506-B33B865240EC}" destId="{D43B7E64-C22A-45D9-B024-B7A9AED0C1C3}" srcOrd="4" destOrd="0" presId="urn:microsoft.com/office/officeart/2005/8/layout/orgChart1"/>
    <dgm:cxn modelId="{A81C6BB8-5899-4BF3-80CE-B8B6163CB91F}" type="presParOf" srcId="{9F44393F-18A3-4102-9506-B33B865240EC}" destId="{79B5A7E9-3E09-4F5E-9611-8CFFB77DC1BF}" srcOrd="5" destOrd="0" presId="urn:microsoft.com/office/officeart/2005/8/layout/orgChart1"/>
    <dgm:cxn modelId="{16A32438-3A91-4FE8-A93C-9F8752D69390}" type="presParOf" srcId="{79B5A7E9-3E09-4F5E-9611-8CFFB77DC1BF}" destId="{06C15E9F-0886-4BB4-9E92-B6A529196B85}" srcOrd="0" destOrd="0" presId="urn:microsoft.com/office/officeart/2005/8/layout/orgChart1"/>
    <dgm:cxn modelId="{4E796D45-7FF1-47A1-A1ED-7FB1D92981DC}" type="presParOf" srcId="{06C15E9F-0886-4BB4-9E92-B6A529196B85}" destId="{C4E8F6B8-A613-4C90-A3FB-F00BEA541724}" srcOrd="0" destOrd="0" presId="urn:microsoft.com/office/officeart/2005/8/layout/orgChart1"/>
    <dgm:cxn modelId="{E4C86B3F-BD9C-4C71-BD51-5527759E6DA2}" type="presParOf" srcId="{06C15E9F-0886-4BB4-9E92-B6A529196B85}" destId="{D7947A34-3397-4698-9D17-424A6CF572B2}" srcOrd="1" destOrd="0" presId="urn:microsoft.com/office/officeart/2005/8/layout/orgChart1"/>
    <dgm:cxn modelId="{B3E0468E-1160-4F5E-80A9-4EC4DFC1961C}" type="presParOf" srcId="{79B5A7E9-3E09-4F5E-9611-8CFFB77DC1BF}" destId="{E11CEF87-F8E7-43CB-A07A-1698CF7D35F1}" srcOrd="1" destOrd="0" presId="urn:microsoft.com/office/officeart/2005/8/layout/orgChart1"/>
    <dgm:cxn modelId="{3A2DCC35-F7BC-4C74-B914-C60A12C7136F}" type="presParOf" srcId="{E11CEF87-F8E7-43CB-A07A-1698CF7D35F1}" destId="{E1692DE4-E824-41D9-8958-07D58E16DF94}" srcOrd="0" destOrd="0" presId="urn:microsoft.com/office/officeart/2005/8/layout/orgChart1"/>
    <dgm:cxn modelId="{23B2437E-7C14-4E80-819B-8EEBDD76903C}" type="presParOf" srcId="{E11CEF87-F8E7-43CB-A07A-1698CF7D35F1}" destId="{3D414171-6ADE-4419-971F-01701B80569D}" srcOrd="1" destOrd="0" presId="urn:microsoft.com/office/officeart/2005/8/layout/orgChart1"/>
    <dgm:cxn modelId="{A574D0FA-02D3-4B73-A603-C946F65F7721}" type="presParOf" srcId="{3D414171-6ADE-4419-971F-01701B80569D}" destId="{615E73B2-0F7A-4E4B-93E4-EE9E8367EE79}" srcOrd="0" destOrd="0" presId="urn:microsoft.com/office/officeart/2005/8/layout/orgChart1"/>
    <dgm:cxn modelId="{C3BD6F8E-9A0A-4205-88EC-DDADCD85AE8A}" type="presParOf" srcId="{615E73B2-0F7A-4E4B-93E4-EE9E8367EE79}" destId="{ACA18474-22F6-4498-A5B0-5C8342E63124}" srcOrd="0" destOrd="0" presId="urn:microsoft.com/office/officeart/2005/8/layout/orgChart1"/>
    <dgm:cxn modelId="{72822BCE-2DB4-4431-8501-608FADD4D680}" type="presParOf" srcId="{615E73B2-0F7A-4E4B-93E4-EE9E8367EE79}" destId="{7F18FC18-C041-4B5B-986A-1CEE0004ECB9}" srcOrd="1" destOrd="0" presId="urn:microsoft.com/office/officeart/2005/8/layout/orgChart1"/>
    <dgm:cxn modelId="{53A42957-093A-451E-8679-EBD5E4A5A005}" type="presParOf" srcId="{3D414171-6ADE-4419-971F-01701B80569D}" destId="{1620E908-8E78-4BFD-9A62-FD20045BB185}" srcOrd="1" destOrd="0" presId="urn:microsoft.com/office/officeart/2005/8/layout/orgChart1"/>
    <dgm:cxn modelId="{4760D1C5-ED1E-45E6-86E8-9BD1CFC786ED}" type="presParOf" srcId="{3D414171-6ADE-4419-971F-01701B80569D}" destId="{F5CE793B-928E-4E03-89DB-04F5895D823A}" srcOrd="2" destOrd="0" presId="urn:microsoft.com/office/officeart/2005/8/layout/orgChart1"/>
    <dgm:cxn modelId="{381397B7-D17B-46F9-A27F-1A9F2D79161F}" type="presParOf" srcId="{79B5A7E9-3E09-4F5E-9611-8CFFB77DC1BF}" destId="{0F12B2A9-60B4-4940-B18B-0D92A331BB23}" srcOrd="2" destOrd="0" presId="urn:microsoft.com/office/officeart/2005/8/layout/orgChart1"/>
    <dgm:cxn modelId="{8B4425E7-1CA0-40C7-9EB0-0B291EF66834}" type="presParOf" srcId="{0A319DCF-BFE8-4748-8340-D7B84A0D395F}" destId="{48A87B06-2686-493B-9676-0E73EBA3CDFD}"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34941D-B1E8-4D8A-8775-B2C1AD43E147}" type="doc">
      <dgm:prSet loTypeId="urn:microsoft.com/office/officeart/2005/8/layout/process1" loCatId="process" qsTypeId="urn:microsoft.com/office/officeart/2005/8/quickstyle/simple1" qsCatId="simple" csTypeId="urn:microsoft.com/office/officeart/2005/8/colors/accent5_3" csCatId="accent5"/>
      <dgm:spPr/>
      <dgm:t>
        <a:bodyPr/>
        <a:lstStyle/>
        <a:p>
          <a:endParaRPr lang="en-US"/>
        </a:p>
      </dgm:t>
    </dgm:pt>
    <dgm:pt modelId="{FA95F8B1-526C-4BCC-AFC0-17CEEB2E8472}">
      <dgm:prSet/>
      <dgm:spPr/>
      <dgm:t>
        <a:bodyPr/>
        <a:lstStyle/>
        <a:p>
          <a:r>
            <a:rPr lang="en-US"/>
            <a:t>Week 1</a:t>
          </a:r>
        </a:p>
      </dgm:t>
    </dgm:pt>
    <dgm:pt modelId="{29D879FA-E1B0-4DF6-8F3C-E896323BA1BF}" type="parTrans" cxnId="{7A33F38A-996B-4D5B-8B13-09283C827CCE}">
      <dgm:prSet/>
      <dgm:spPr/>
      <dgm:t>
        <a:bodyPr/>
        <a:lstStyle/>
        <a:p>
          <a:endParaRPr lang="en-US"/>
        </a:p>
      </dgm:t>
    </dgm:pt>
    <dgm:pt modelId="{8AA7DF35-4F20-4637-9D6D-1F6C57B5FFA9}" type="sibTrans" cxnId="{7A33F38A-996B-4D5B-8B13-09283C827CCE}">
      <dgm:prSet/>
      <dgm:spPr/>
      <dgm:t>
        <a:bodyPr/>
        <a:lstStyle/>
        <a:p>
          <a:endParaRPr lang="en-US"/>
        </a:p>
      </dgm:t>
    </dgm:pt>
    <dgm:pt modelId="{7D11A016-1512-44B0-952A-28B4C0B7C3C6}">
      <dgm:prSet/>
      <dgm:spPr/>
      <dgm:t>
        <a:bodyPr/>
        <a:lstStyle/>
        <a:p>
          <a:r>
            <a:rPr lang="en-US"/>
            <a:t>Week 2</a:t>
          </a:r>
        </a:p>
      </dgm:t>
    </dgm:pt>
    <dgm:pt modelId="{45400A0D-AC18-4BFF-BF89-708AD398E809}" type="parTrans" cxnId="{560019D2-871F-47A7-BD7F-CE37A4602F30}">
      <dgm:prSet/>
      <dgm:spPr/>
      <dgm:t>
        <a:bodyPr/>
        <a:lstStyle/>
        <a:p>
          <a:endParaRPr lang="en-US"/>
        </a:p>
      </dgm:t>
    </dgm:pt>
    <dgm:pt modelId="{1BBAD2BE-B0DE-4ADD-870F-E425CF071855}" type="sibTrans" cxnId="{560019D2-871F-47A7-BD7F-CE37A4602F30}">
      <dgm:prSet/>
      <dgm:spPr/>
      <dgm:t>
        <a:bodyPr/>
        <a:lstStyle/>
        <a:p>
          <a:endParaRPr lang="en-US"/>
        </a:p>
      </dgm:t>
    </dgm:pt>
    <dgm:pt modelId="{6A12EFBD-94CE-4FA3-B7C2-573F6AD9C509}">
      <dgm:prSet/>
      <dgm:spPr/>
      <dgm:t>
        <a:bodyPr/>
        <a:lstStyle/>
        <a:p>
          <a:r>
            <a:rPr lang="en-US"/>
            <a:t>Week 3</a:t>
          </a:r>
        </a:p>
      </dgm:t>
    </dgm:pt>
    <dgm:pt modelId="{6232D191-8997-4444-AFA7-3D44B39D76AA}" type="parTrans" cxnId="{D40B9653-0B0C-4B4B-B3FE-9A9BA507CF1F}">
      <dgm:prSet/>
      <dgm:spPr/>
      <dgm:t>
        <a:bodyPr/>
        <a:lstStyle/>
        <a:p>
          <a:endParaRPr lang="en-US"/>
        </a:p>
      </dgm:t>
    </dgm:pt>
    <dgm:pt modelId="{66A35C16-8840-491F-BAE5-63298CBB6F50}" type="sibTrans" cxnId="{D40B9653-0B0C-4B4B-B3FE-9A9BA507CF1F}">
      <dgm:prSet/>
      <dgm:spPr/>
      <dgm:t>
        <a:bodyPr/>
        <a:lstStyle/>
        <a:p>
          <a:endParaRPr lang="en-US"/>
        </a:p>
      </dgm:t>
    </dgm:pt>
    <dgm:pt modelId="{E734E7E0-2D7D-4A0D-910B-1DFAFC2C89D5}">
      <dgm:prSet/>
      <dgm:spPr/>
      <dgm:t>
        <a:bodyPr/>
        <a:lstStyle/>
        <a:p>
          <a:r>
            <a:rPr lang="en-US"/>
            <a:t>Week 4</a:t>
          </a:r>
        </a:p>
      </dgm:t>
    </dgm:pt>
    <dgm:pt modelId="{51D7EFBA-A1F5-4AB3-98F6-F39FA3D8F86D}" type="parTrans" cxnId="{7823F37A-D94C-4D89-B703-C21BF9BD118C}">
      <dgm:prSet/>
      <dgm:spPr/>
      <dgm:t>
        <a:bodyPr/>
        <a:lstStyle/>
        <a:p>
          <a:endParaRPr lang="en-US"/>
        </a:p>
      </dgm:t>
    </dgm:pt>
    <dgm:pt modelId="{4AAA8ABE-B6C1-4FDE-A018-F53168B220CD}" type="sibTrans" cxnId="{7823F37A-D94C-4D89-B703-C21BF9BD118C}">
      <dgm:prSet/>
      <dgm:spPr/>
      <dgm:t>
        <a:bodyPr/>
        <a:lstStyle/>
        <a:p>
          <a:endParaRPr lang="en-US"/>
        </a:p>
      </dgm:t>
    </dgm:pt>
    <dgm:pt modelId="{4C10245C-20F6-4CE4-BF3F-1C8BBFBD5FAA}">
      <dgm:prSet/>
      <dgm:spPr/>
      <dgm:t>
        <a:bodyPr/>
        <a:lstStyle/>
        <a:p>
          <a:r>
            <a:rPr lang="en-US"/>
            <a:t>Week 5</a:t>
          </a:r>
        </a:p>
      </dgm:t>
    </dgm:pt>
    <dgm:pt modelId="{699DF582-444E-4CB1-9477-7096E417FEA5}" type="parTrans" cxnId="{60903647-E422-433D-BDF6-D95373CD6F15}">
      <dgm:prSet/>
      <dgm:spPr/>
      <dgm:t>
        <a:bodyPr/>
        <a:lstStyle/>
        <a:p>
          <a:endParaRPr lang="en-US"/>
        </a:p>
      </dgm:t>
    </dgm:pt>
    <dgm:pt modelId="{E08208BC-7E3E-4EAD-82D4-36A7D9068CD9}" type="sibTrans" cxnId="{60903647-E422-433D-BDF6-D95373CD6F15}">
      <dgm:prSet/>
      <dgm:spPr/>
      <dgm:t>
        <a:bodyPr/>
        <a:lstStyle/>
        <a:p>
          <a:endParaRPr lang="en-US"/>
        </a:p>
      </dgm:t>
    </dgm:pt>
    <dgm:pt modelId="{9D28CF79-1EA6-40CB-AE28-1DCD12BA3B5B}">
      <dgm:prSet/>
      <dgm:spPr/>
      <dgm:t>
        <a:bodyPr/>
        <a:lstStyle/>
        <a:p>
          <a:r>
            <a:rPr lang="en-US"/>
            <a:t>Week 6</a:t>
          </a:r>
        </a:p>
      </dgm:t>
    </dgm:pt>
    <dgm:pt modelId="{05C6F827-8FF0-4502-B6A8-485F5C908B98}" type="parTrans" cxnId="{DCAE2304-977E-4DDB-A4A4-7749E0E2766B}">
      <dgm:prSet/>
      <dgm:spPr/>
      <dgm:t>
        <a:bodyPr/>
        <a:lstStyle/>
        <a:p>
          <a:endParaRPr lang="en-US"/>
        </a:p>
      </dgm:t>
    </dgm:pt>
    <dgm:pt modelId="{A8F604F9-05A8-4AD3-8C16-51FADD4FB17D}" type="sibTrans" cxnId="{DCAE2304-977E-4DDB-A4A4-7749E0E2766B}">
      <dgm:prSet/>
      <dgm:spPr/>
      <dgm:t>
        <a:bodyPr/>
        <a:lstStyle/>
        <a:p>
          <a:endParaRPr lang="en-US"/>
        </a:p>
      </dgm:t>
    </dgm:pt>
    <dgm:pt modelId="{38FD256A-1572-4D10-B2C5-B1D42A274CC2}">
      <dgm:prSet/>
      <dgm:spPr/>
      <dgm:t>
        <a:bodyPr/>
        <a:lstStyle/>
        <a:p>
          <a:r>
            <a:rPr lang="en-US"/>
            <a:t>Week 7</a:t>
          </a:r>
        </a:p>
      </dgm:t>
    </dgm:pt>
    <dgm:pt modelId="{EFBCC14C-47C1-458D-982D-2A2EDE9B6048}" type="parTrans" cxnId="{E2750B53-5A7F-4716-A8E7-38F0CE7DCA27}">
      <dgm:prSet/>
      <dgm:spPr/>
      <dgm:t>
        <a:bodyPr/>
        <a:lstStyle/>
        <a:p>
          <a:endParaRPr lang="en-US"/>
        </a:p>
      </dgm:t>
    </dgm:pt>
    <dgm:pt modelId="{D609FD48-1DCF-492B-B2EF-C3B7187B2BDC}" type="sibTrans" cxnId="{E2750B53-5A7F-4716-A8E7-38F0CE7DCA27}">
      <dgm:prSet/>
      <dgm:spPr/>
      <dgm:t>
        <a:bodyPr/>
        <a:lstStyle/>
        <a:p>
          <a:endParaRPr lang="en-US"/>
        </a:p>
      </dgm:t>
    </dgm:pt>
    <dgm:pt modelId="{C192D043-CC99-4EC4-BE27-471FBE8199C1}">
      <dgm:prSet/>
      <dgm:spPr/>
      <dgm:t>
        <a:bodyPr/>
        <a:lstStyle/>
        <a:p>
          <a:r>
            <a:rPr lang="en-US"/>
            <a:t>Week 8, 9</a:t>
          </a:r>
        </a:p>
      </dgm:t>
    </dgm:pt>
    <dgm:pt modelId="{62A20415-DE34-4C58-AACD-38E9794A52DC}" type="parTrans" cxnId="{7EC1B267-BB3F-4079-A6FD-0685C178CB3A}">
      <dgm:prSet/>
      <dgm:spPr/>
      <dgm:t>
        <a:bodyPr/>
        <a:lstStyle/>
        <a:p>
          <a:endParaRPr lang="en-US"/>
        </a:p>
      </dgm:t>
    </dgm:pt>
    <dgm:pt modelId="{D4DEB434-4227-4F2D-91E9-B928F00D325A}" type="sibTrans" cxnId="{7EC1B267-BB3F-4079-A6FD-0685C178CB3A}">
      <dgm:prSet/>
      <dgm:spPr/>
      <dgm:t>
        <a:bodyPr/>
        <a:lstStyle/>
        <a:p>
          <a:endParaRPr lang="en-US"/>
        </a:p>
      </dgm:t>
    </dgm:pt>
    <dgm:pt modelId="{B56488A4-09AF-4FF8-B6D1-15B547F3A369}" type="pres">
      <dgm:prSet presAssocID="{D034941D-B1E8-4D8A-8775-B2C1AD43E147}" presName="Name0" presStyleCnt="0">
        <dgm:presLayoutVars>
          <dgm:dir/>
          <dgm:resizeHandles val="exact"/>
        </dgm:presLayoutVars>
      </dgm:prSet>
      <dgm:spPr/>
    </dgm:pt>
    <dgm:pt modelId="{D4488EE8-569A-4C76-884A-3BEF209DC5C6}" type="pres">
      <dgm:prSet presAssocID="{FA95F8B1-526C-4BCC-AFC0-17CEEB2E8472}" presName="node" presStyleLbl="node1" presStyleIdx="0" presStyleCnt="8">
        <dgm:presLayoutVars>
          <dgm:bulletEnabled val="1"/>
        </dgm:presLayoutVars>
      </dgm:prSet>
      <dgm:spPr/>
    </dgm:pt>
    <dgm:pt modelId="{B220EE54-11FE-4127-9F4F-6C1AEFB24312}" type="pres">
      <dgm:prSet presAssocID="{8AA7DF35-4F20-4637-9D6D-1F6C57B5FFA9}" presName="sibTrans" presStyleLbl="sibTrans2D1" presStyleIdx="0" presStyleCnt="7"/>
      <dgm:spPr/>
    </dgm:pt>
    <dgm:pt modelId="{6E93719E-F2E3-4F20-9D11-59D9D9913075}" type="pres">
      <dgm:prSet presAssocID="{8AA7DF35-4F20-4637-9D6D-1F6C57B5FFA9}" presName="connectorText" presStyleLbl="sibTrans2D1" presStyleIdx="0" presStyleCnt="7"/>
      <dgm:spPr/>
    </dgm:pt>
    <dgm:pt modelId="{17F90E85-86AA-42B5-B464-81D75CF402C3}" type="pres">
      <dgm:prSet presAssocID="{7D11A016-1512-44B0-952A-28B4C0B7C3C6}" presName="node" presStyleLbl="node1" presStyleIdx="1" presStyleCnt="8">
        <dgm:presLayoutVars>
          <dgm:bulletEnabled val="1"/>
        </dgm:presLayoutVars>
      </dgm:prSet>
      <dgm:spPr/>
    </dgm:pt>
    <dgm:pt modelId="{841D4F21-AF87-4EF6-BAD8-6BCDAD5E9FEB}" type="pres">
      <dgm:prSet presAssocID="{1BBAD2BE-B0DE-4ADD-870F-E425CF071855}" presName="sibTrans" presStyleLbl="sibTrans2D1" presStyleIdx="1" presStyleCnt="7"/>
      <dgm:spPr/>
    </dgm:pt>
    <dgm:pt modelId="{35C979A6-B17C-4117-8E76-273B62A7388C}" type="pres">
      <dgm:prSet presAssocID="{1BBAD2BE-B0DE-4ADD-870F-E425CF071855}" presName="connectorText" presStyleLbl="sibTrans2D1" presStyleIdx="1" presStyleCnt="7"/>
      <dgm:spPr/>
    </dgm:pt>
    <dgm:pt modelId="{0021B693-EF35-400E-822D-6F05DC7C5E13}" type="pres">
      <dgm:prSet presAssocID="{6A12EFBD-94CE-4FA3-B7C2-573F6AD9C509}" presName="node" presStyleLbl="node1" presStyleIdx="2" presStyleCnt="8">
        <dgm:presLayoutVars>
          <dgm:bulletEnabled val="1"/>
        </dgm:presLayoutVars>
      </dgm:prSet>
      <dgm:spPr/>
    </dgm:pt>
    <dgm:pt modelId="{279D3A8D-719E-4E61-B605-4D5D4D7024EB}" type="pres">
      <dgm:prSet presAssocID="{66A35C16-8840-491F-BAE5-63298CBB6F50}" presName="sibTrans" presStyleLbl="sibTrans2D1" presStyleIdx="2" presStyleCnt="7"/>
      <dgm:spPr/>
    </dgm:pt>
    <dgm:pt modelId="{D7C94D5B-6413-42F0-BF89-14A5E18816DC}" type="pres">
      <dgm:prSet presAssocID="{66A35C16-8840-491F-BAE5-63298CBB6F50}" presName="connectorText" presStyleLbl="sibTrans2D1" presStyleIdx="2" presStyleCnt="7"/>
      <dgm:spPr/>
    </dgm:pt>
    <dgm:pt modelId="{C0D650CB-F6B3-4DF3-8A7B-3FB2BFF58926}" type="pres">
      <dgm:prSet presAssocID="{E734E7E0-2D7D-4A0D-910B-1DFAFC2C89D5}" presName="node" presStyleLbl="node1" presStyleIdx="3" presStyleCnt="8">
        <dgm:presLayoutVars>
          <dgm:bulletEnabled val="1"/>
        </dgm:presLayoutVars>
      </dgm:prSet>
      <dgm:spPr/>
    </dgm:pt>
    <dgm:pt modelId="{3BB20A17-3641-49C2-8A38-7C39A1B585F7}" type="pres">
      <dgm:prSet presAssocID="{4AAA8ABE-B6C1-4FDE-A018-F53168B220CD}" presName="sibTrans" presStyleLbl="sibTrans2D1" presStyleIdx="3" presStyleCnt="7"/>
      <dgm:spPr/>
    </dgm:pt>
    <dgm:pt modelId="{E7FDAED6-390C-4D2C-BF4C-0C62795FDB80}" type="pres">
      <dgm:prSet presAssocID="{4AAA8ABE-B6C1-4FDE-A018-F53168B220CD}" presName="connectorText" presStyleLbl="sibTrans2D1" presStyleIdx="3" presStyleCnt="7"/>
      <dgm:spPr/>
    </dgm:pt>
    <dgm:pt modelId="{634E77B6-E459-4466-B275-6BBAAAA77A5A}" type="pres">
      <dgm:prSet presAssocID="{4C10245C-20F6-4CE4-BF3F-1C8BBFBD5FAA}" presName="node" presStyleLbl="node1" presStyleIdx="4" presStyleCnt="8">
        <dgm:presLayoutVars>
          <dgm:bulletEnabled val="1"/>
        </dgm:presLayoutVars>
      </dgm:prSet>
      <dgm:spPr/>
    </dgm:pt>
    <dgm:pt modelId="{4570E52D-0AC4-45F6-9E45-9FAA1DF0E16B}" type="pres">
      <dgm:prSet presAssocID="{E08208BC-7E3E-4EAD-82D4-36A7D9068CD9}" presName="sibTrans" presStyleLbl="sibTrans2D1" presStyleIdx="4" presStyleCnt="7"/>
      <dgm:spPr/>
    </dgm:pt>
    <dgm:pt modelId="{AA5BB8CD-4B1E-4064-86FB-E9A6624F93EC}" type="pres">
      <dgm:prSet presAssocID="{E08208BC-7E3E-4EAD-82D4-36A7D9068CD9}" presName="connectorText" presStyleLbl="sibTrans2D1" presStyleIdx="4" presStyleCnt="7"/>
      <dgm:spPr/>
    </dgm:pt>
    <dgm:pt modelId="{1D2D1D5C-5915-4CF5-A2B6-C2F9DA1B3751}" type="pres">
      <dgm:prSet presAssocID="{9D28CF79-1EA6-40CB-AE28-1DCD12BA3B5B}" presName="node" presStyleLbl="node1" presStyleIdx="5" presStyleCnt="8">
        <dgm:presLayoutVars>
          <dgm:bulletEnabled val="1"/>
        </dgm:presLayoutVars>
      </dgm:prSet>
      <dgm:spPr/>
    </dgm:pt>
    <dgm:pt modelId="{BFA41252-12A5-4C1B-9C35-6DF5AB57BEBA}" type="pres">
      <dgm:prSet presAssocID="{A8F604F9-05A8-4AD3-8C16-51FADD4FB17D}" presName="sibTrans" presStyleLbl="sibTrans2D1" presStyleIdx="5" presStyleCnt="7"/>
      <dgm:spPr/>
    </dgm:pt>
    <dgm:pt modelId="{23AE41DC-D96E-4860-A79C-B9F8F61D1303}" type="pres">
      <dgm:prSet presAssocID="{A8F604F9-05A8-4AD3-8C16-51FADD4FB17D}" presName="connectorText" presStyleLbl="sibTrans2D1" presStyleIdx="5" presStyleCnt="7"/>
      <dgm:spPr/>
    </dgm:pt>
    <dgm:pt modelId="{C1C6C1AE-CB13-4710-BECF-220B5837B820}" type="pres">
      <dgm:prSet presAssocID="{38FD256A-1572-4D10-B2C5-B1D42A274CC2}" presName="node" presStyleLbl="node1" presStyleIdx="6" presStyleCnt="8">
        <dgm:presLayoutVars>
          <dgm:bulletEnabled val="1"/>
        </dgm:presLayoutVars>
      </dgm:prSet>
      <dgm:spPr/>
    </dgm:pt>
    <dgm:pt modelId="{CECB42B2-F674-4A1B-81A7-39888C0EACB9}" type="pres">
      <dgm:prSet presAssocID="{D609FD48-1DCF-492B-B2EF-C3B7187B2BDC}" presName="sibTrans" presStyleLbl="sibTrans2D1" presStyleIdx="6" presStyleCnt="7"/>
      <dgm:spPr/>
    </dgm:pt>
    <dgm:pt modelId="{E9CF956F-A441-4F60-A648-005A5AC3AC37}" type="pres">
      <dgm:prSet presAssocID="{D609FD48-1DCF-492B-B2EF-C3B7187B2BDC}" presName="connectorText" presStyleLbl="sibTrans2D1" presStyleIdx="6" presStyleCnt="7"/>
      <dgm:spPr/>
    </dgm:pt>
    <dgm:pt modelId="{5604EB01-0E23-49C1-B8C1-FB032C568EC2}" type="pres">
      <dgm:prSet presAssocID="{C192D043-CC99-4EC4-BE27-471FBE8199C1}" presName="node" presStyleLbl="node1" presStyleIdx="7" presStyleCnt="8">
        <dgm:presLayoutVars>
          <dgm:bulletEnabled val="1"/>
        </dgm:presLayoutVars>
      </dgm:prSet>
      <dgm:spPr/>
    </dgm:pt>
  </dgm:ptLst>
  <dgm:cxnLst>
    <dgm:cxn modelId="{DCAE2304-977E-4DDB-A4A4-7749E0E2766B}" srcId="{D034941D-B1E8-4D8A-8775-B2C1AD43E147}" destId="{9D28CF79-1EA6-40CB-AE28-1DCD12BA3B5B}" srcOrd="5" destOrd="0" parTransId="{05C6F827-8FF0-4502-B6A8-485F5C908B98}" sibTransId="{A8F604F9-05A8-4AD3-8C16-51FADD4FB17D}"/>
    <dgm:cxn modelId="{C6ED3B0F-E82F-4C08-B703-8892BBB1CE15}" type="presOf" srcId="{38FD256A-1572-4D10-B2C5-B1D42A274CC2}" destId="{C1C6C1AE-CB13-4710-BECF-220B5837B820}" srcOrd="0" destOrd="0" presId="urn:microsoft.com/office/officeart/2005/8/layout/process1"/>
    <dgm:cxn modelId="{95597310-C8B2-4560-925B-C4F3DB88E05F}" type="presOf" srcId="{9D28CF79-1EA6-40CB-AE28-1DCD12BA3B5B}" destId="{1D2D1D5C-5915-4CF5-A2B6-C2F9DA1B3751}" srcOrd="0" destOrd="0" presId="urn:microsoft.com/office/officeart/2005/8/layout/process1"/>
    <dgm:cxn modelId="{25CBC723-09BB-469B-8D0B-8ECB2654F488}" type="presOf" srcId="{D034941D-B1E8-4D8A-8775-B2C1AD43E147}" destId="{B56488A4-09AF-4FF8-B6D1-15B547F3A369}" srcOrd="0" destOrd="0" presId="urn:microsoft.com/office/officeart/2005/8/layout/process1"/>
    <dgm:cxn modelId="{1BCD302A-A86D-42BA-9F0B-EE56FA26DBCD}" type="presOf" srcId="{7D11A016-1512-44B0-952A-28B4C0B7C3C6}" destId="{17F90E85-86AA-42B5-B464-81D75CF402C3}" srcOrd="0" destOrd="0" presId="urn:microsoft.com/office/officeart/2005/8/layout/process1"/>
    <dgm:cxn modelId="{F374955E-4CEC-48FF-9CB6-34C7961840CB}" type="presOf" srcId="{1BBAD2BE-B0DE-4ADD-870F-E425CF071855}" destId="{35C979A6-B17C-4117-8E76-273B62A7388C}" srcOrd="1" destOrd="0" presId="urn:microsoft.com/office/officeart/2005/8/layout/process1"/>
    <dgm:cxn modelId="{EE10EE5F-70AF-4BEB-988C-65C6A25F1B4D}" type="presOf" srcId="{E08208BC-7E3E-4EAD-82D4-36A7D9068CD9}" destId="{4570E52D-0AC4-45F6-9E45-9FAA1DF0E16B}" srcOrd="0" destOrd="0" presId="urn:microsoft.com/office/officeart/2005/8/layout/process1"/>
    <dgm:cxn modelId="{60903647-E422-433D-BDF6-D95373CD6F15}" srcId="{D034941D-B1E8-4D8A-8775-B2C1AD43E147}" destId="{4C10245C-20F6-4CE4-BF3F-1C8BBFBD5FAA}" srcOrd="4" destOrd="0" parTransId="{699DF582-444E-4CB1-9477-7096E417FEA5}" sibTransId="{E08208BC-7E3E-4EAD-82D4-36A7D9068CD9}"/>
    <dgm:cxn modelId="{7EC1B267-BB3F-4079-A6FD-0685C178CB3A}" srcId="{D034941D-B1E8-4D8A-8775-B2C1AD43E147}" destId="{C192D043-CC99-4EC4-BE27-471FBE8199C1}" srcOrd="7" destOrd="0" parTransId="{62A20415-DE34-4C58-AACD-38E9794A52DC}" sibTransId="{D4DEB434-4227-4F2D-91E9-B928F00D325A}"/>
    <dgm:cxn modelId="{14967C68-FEF7-4072-86D1-556002B8164F}" type="presOf" srcId="{4C10245C-20F6-4CE4-BF3F-1C8BBFBD5FAA}" destId="{634E77B6-E459-4466-B275-6BBAAAA77A5A}" srcOrd="0" destOrd="0" presId="urn:microsoft.com/office/officeart/2005/8/layout/process1"/>
    <dgm:cxn modelId="{19A5356B-6C2C-49C2-9B7F-552223703A0A}" type="presOf" srcId="{A8F604F9-05A8-4AD3-8C16-51FADD4FB17D}" destId="{BFA41252-12A5-4C1B-9C35-6DF5AB57BEBA}" srcOrd="0" destOrd="0" presId="urn:microsoft.com/office/officeart/2005/8/layout/process1"/>
    <dgm:cxn modelId="{E2750B53-5A7F-4716-A8E7-38F0CE7DCA27}" srcId="{D034941D-B1E8-4D8A-8775-B2C1AD43E147}" destId="{38FD256A-1572-4D10-B2C5-B1D42A274CC2}" srcOrd="6" destOrd="0" parTransId="{EFBCC14C-47C1-458D-982D-2A2EDE9B6048}" sibTransId="{D609FD48-1DCF-492B-B2EF-C3B7187B2BDC}"/>
    <dgm:cxn modelId="{D40B9653-0B0C-4B4B-B3FE-9A9BA507CF1F}" srcId="{D034941D-B1E8-4D8A-8775-B2C1AD43E147}" destId="{6A12EFBD-94CE-4FA3-B7C2-573F6AD9C509}" srcOrd="2" destOrd="0" parTransId="{6232D191-8997-4444-AFA7-3D44B39D76AA}" sibTransId="{66A35C16-8840-491F-BAE5-63298CBB6F50}"/>
    <dgm:cxn modelId="{CD474D57-6DB2-4727-9E48-4E30FF43B28A}" type="presOf" srcId="{FA95F8B1-526C-4BCC-AFC0-17CEEB2E8472}" destId="{D4488EE8-569A-4C76-884A-3BEF209DC5C6}" srcOrd="0" destOrd="0" presId="urn:microsoft.com/office/officeart/2005/8/layout/process1"/>
    <dgm:cxn modelId="{41BFEE5A-B5F3-48A2-913D-2B5F3874C1F5}" type="presOf" srcId="{A8F604F9-05A8-4AD3-8C16-51FADD4FB17D}" destId="{23AE41DC-D96E-4860-A79C-B9F8F61D1303}" srcOrd="1" destOrd="0" presId="urn:microsoft.com/office/officeart/2005/8/layout/process1"/>
    <dgm:cxn modelId="{7823F37A-D94C-4D89-B703-C21BF9BD118C}" srcId="{D034941D-B1E8-4D8A-8775-B2C1AD43E147}" destId="{E734E7E0-2D7D-4A0D-910B-1DFAFC2C89D5}" srcOrd="3" destOrd="0" parTransId="{51D7EFBA-A1F5-4AB3-98F6-F39FA3D8F86D}" sibTransId="{4AAA8ABE-B6C1-4FDE-A018-F53168B220CD}"/>
    <dgm:cxn modelId="{667F687B-95E0-4CE8-BB72-46AF5CA3EF29}" type="presOf" srcId="{E08208BC-7E3E-4EAD-82D4-36A7D9068CD9}" destId="{AA5BB8CD-4B1E-4064-86FB-E9A6624F93EC}" srcOrd="1" destOrd="0" presId="urn:microsoft.com/office/officeart/2005/8/layout/process1"/>
    <dgm:cxn modelId="{8590457F-1640-4786-B836-DC35EC30C3A1}" type="presOf" srcId="{66A35C16-8840-491F-BAE5-63298CBB6F50}" destId="{D7C94D5B-6413-42F0-BF89-14A5E18816DC}" srcOrd="1" destOrd="0" presId="urn:microsoft.com/office/officeart/2005/8/layout/process1"/>
    <dgm:cxn modelId="{EC09EF89-B72D-4A25-AAAD-B15CCE83D6AA}" type="presOf" srcId="{D609FD48-1DCF-492B-B2EF-C3B7187B2BDC}" destId="{E9CF956F-A441-4F60-A648-005A5AC3AC37}" srcOrd="1" destOrd="0" presId="urn:microsoft.com/office/officeart/2005/8/layout/process1"/>
    <dgm:cxn modelId="{7A33F38A-996B-4D5B-8B13-09283C827CCE}" srcId="{D034941D-B1E8-4D8A-8775-B2C1AD43E147}" destId="{FA95F8B1-526C-4BCC-AFC0-17CEEB2E8472}" srcOrd="0" destOrd="0" parTransId="{29D879FA-E1B0-4DF6-8F3C-E896323BA1BF}" sibTransId="{8AA7DF35-4F20-4637-9D6D-1F6C57B5FFA9}"/>
    <dgm:cxn modelId="{61E1A38D-C03F-4854-BDFD-4610CD6298DD}" type="presOf" srcId="{66A35C16-8840-491F-BAE5-63298CBB6F50}" destId="{279D3A8D-719E-4E61-B605-4D5D4D7024EB}" srcOrd="0" destOrd="0" presId="urn:microsoft.com/office/officeart/2005/8/layout/process1"/>
    <dgm:cxn modelId="{D2E1FB8F-FB64-428D-80BD-A11A4CF512B1}" type="presOf" srcId="{4AAA8ABE-B6C1-4FDE-A018-F53168B220CD}" destId="{E7FDAED6-390C-4D2C-BF4C-0C62795FDB80}" srcOrd="1" destOrd="0" presId="urn:microsoft.com/office/officeart/2005/8/layout/process1"/>
    <dgm:cxn modelId="{1BB42C95-951F-4DE3-A52C-91A9759D7E59}" type="presOf" srcId="{D609FD48-1DCF-492B-B2EF-C3B7187B2BDC}" destId="{CECB42B2-F674-4A1B-81A7-39888C0EACB9}" srcOrd="0" destOrd="0" presId="urn:microsoft.com/office/officeart/2005/8/layout/process1"/>
    <dgm:cxn modelId="{ADD9D09B-55A2-4BB8-8C9F-DD09DFDD47D7}" type="presOf" srcId="{6A12EFBD-94CE-4FA3-B7C2-573F6AD9C509}" destId="{0021B693-EF35-400E-822D-6F05DC7C5E13}" srcOrd="0" destOrd="0" presId="urn:microsoft.com/office/officeart/2005/8/layout/process1"/>
    <dgm:cxn modelId="{31327FB2-0C19-4DA2-BEB3-FE43271495E2}" type="presOf" srcId="{8AA7DF35-4F20-4637-9D6D-1F6C57B5FFA9}" destId="{B220EE54-11FE-4127-9F4F-6C1AEFB24312}" srcOrd="0" destOrd="0" presId="urn:microsoft.com/office/officeart/2005/8/layout/process1"/>
    <dgm:cxn modelId="{0BF664B5-99D0-46C0-86D6-ECE738173085}" type="presOf" srcId="{E734E7E0-2D7D-4A0D-910B-1DFAFC2C89D5}" destId="{C0D650CB-F6B3-4DF3-8A7B-3FB2BFF58926}" srcOrd="0" destOrd="0" presId="urn:microsoft.com/office/officeart/2005/8/layout/process1"/>
    <dgm:cxn modelId="{22E777C1-DF37-4F14-B287-740E81C75868}" type="presOf" srcId="{4AAA8ABE-B6C1-4FDE-A018-F53168B220CD}" destId="{3BB20A17-3641-49C2-8A38-7C39A1B585F7}" srcOrd="0" destOrd="0" presId="urn:microsoft.com/office/officeart/2005/8/layout/process1"/>
    <dgm:cxn modelId="{560019D2-871F-47A7-BD7F-CE37A4602F30}" srcId="{D034941D-B1E8-4D8A-8775-B2C1AD43E147}" destId="{7D11A016-1512-44B0-952A-28B4C0B7C3C6}" srcOrd="1" destOrd="0" parTransId="{45400A0D-AC18-4BFF-BF89-708AD398E809}" sibTransId="{1BBAD2BE-B0DE-4ADD-870F-E425CF071855}"/>
    <dgm:cxn modelId="{4E9103E5-9633-4CCF-971C-D145299CA87C}" type="presOf" srcId="{C192D043-CC99-4EC4-BE27-471FBE8199C1}" destId="{5604EB01-0E23-49C1-B8C1-FB032C568EC2}" srcOrd="0" destOrd="0" presId="urn:microsoft.com/office/officeart/2005/8/layout/process1"/>
    <dgm:cxn modelId="{0A299DE9-76E0-4850-9852-85A31F4E78BB}" type="presOf" srcId="{8AA7DF35-4F20-4637-9D6D-1F6C57B5FFA9}" destId="{6E93719E-F2E3-4F20-9D11-59D9D9913075}" srcOrd="1" destOrd="0" presId="urn:microsoft.com/office/officeart/2005/8/layout/process1"/>
    <dgm:cxn modelId="{7D35D0F3-C85C-44E7-A838-5430693D0758}" type="presOf" srcId="{1BBAD2BE-B0DE-4ADD-870F-E425CF071855}" destId="{841D4F21-AF87-4EF6-BAD8-6BCDAD5E9FEB}" srcOrd="0" destOrd="0" presId="urn:microsoft.com/office/officeart/2005/8/layout/process1"/>
    <dgm:cxn modelId="{E3A45AB7-D22F-4522-B991-93D41A396CCA}" type="presParOf" srcId="{B56488A4-09AF-4FF8-B6D1-15B547F3A369}" destId="{D4488EE8-569A-4C76-884A-3BEF209DC5C6}" srcOrd="0" destOrd="0" presId="urn:microsoft.com/office/officeart/2005/8/layout/process1"/>
    <dgm:cxn modelId="{D6FAF7F2-15CA-4B90-9B96-2A16ECAAF8D1}" type="presParOf" srcId="{B56488A4-09AF-4FF8-B6D1-15B547F3A369}" destId="{B220EE54-11FE-4127-9F4F-6C1AEFB24312}" srcOrd="1" destOrd="0" presId="urn:microsoft.com/office/officeart/2005/8/layout/process1"/>
    <dgm:cxn modelId="{DCC5AA6F-755A-45BB-822A-C6E1151F0B97}" type="presParOf" srcId="{B220EE54-11FE-4127-9F4F-6C1AEFB24312}" destId="{6E93719E-F2E3-4F20-9D11-59D9D9913075}" srcOrd="0" destOrd="0" presId="urn:microsoft.com/office/officeart/2005/8/layout/process1"/>
    <dgm:cxn modelId="{0DE7AF32-A736-4703-A7A9-F25BF47E54C1}" type="presParOf" srcId="{B56488A4-09AF-4FF8-B6D1-15B547F3A369}" destId="{17F90E85-86AA-42B5-B464-81D75CF402C3}" srcOrd="2" destOrd="0" presId="urn:microsoft.com/office/officeart/2005/8/layout/process1"/>
    <dgm:cxn modelId="{A3F48B54-BB25-4C2A-81E5-1A54EA0D54B1}" type="presParOf" srcId="{B56488A4-09AF-4FF8-B6D1-15B547F3A369}" destId="{841D4F21-AF87-4EF6-BAD8-6BCDAD5E9FEB}" srcOrd="3" destOrd="0" presId="urn:microsoft.com/office/officeart/2005/8/layout/process1"/>
    <dgm:cxn modelId="{C8AAD3AC-F27B-4545-B783-CD1BBFB2711C}" type="presParOf" srcId="{841D4F21-AF87-4EF6-BAD8-6BCDAD5E9FEB}" destId="{35C979A6-B17C-4117-8E76-273B62A7388C}" srcOrd="0" destOrd="0" presId="urn:microsoft.com/office/officeart/2005/8/layout/process1"/>
    <dgm:cxn modelId="{11B0CC41-8400-41D6-8766-C3612FF35A23}" type="presParOf" srcId="{B56488A4-09AF-4FF8-B6D1-15B547F3A369}" destId="{0021B693-EF35-400E-822D-6F05DC7C5E13}" srcOrd="4" destOrd="0" presId="urn:microsoft.com/office/officeart/2005/8/layout/process1"/>
    <dgm:cxn modelId="{7738850C-B57E-4539-91E7-6CD7CD8CF73E}" type="presParOf" srcId="{B56488A4-09AF-4FF8-B6D1-15B547F3A369}" destId="{279D3A8D-719E-4E61-B605-4D5D4D7024EB}" srcOrd="5" destOrd="0" presId="urn:microsoft.com/office/officeart/2005/8/layout/process1"/>
    <dgm:cxn modelId="{C69CB3B9-BD67-4CE0-A3E1-3769B1EE606C}" type="presParOf" srcId="{279D3A8D-719E-4E61-B605-4D5D4D7024EB}" destId="{D7C94D5B-6413-42F0-BF89-14A5E18816DC}" srcOrd="0" destOrd="0" presId="urn:microsoft.com/office/officeart/2005/8/layout/process1"/>
    <dgm:cxn modelId="{34C27388-94F5-4CC8-BC13-CC9291E70089}" type="presParOf" srcId="{B56488A4-09AF-4FF8-B6D1-15B547F3A369}" destId="{C0D650CB-F6B3-4DF3-8A7B-3FB2BFF58926}" srcOrd="6" destOrd="0" presId="urn:microsoft.com/office/officeart/2005/8/layout/process1"/>
    <dgm:cxn modelId="{EAD61C43-DB55-48D8-9076-D8F241C41114}" type="presParOf" srcId="{B56488A4-09AF-4FF8-B6D1-15B547F3A369}" destId="{3BB20A17-3641-49C2-8A38-7C39A1B585F7}" srcOrd="7" destOrd="0" presId="urn:microsoft.com/office/officeart/2005/8/layout/process1"/>
    <dgm:cxn modelId="{CAC92D13-4747-4280-9820-8C78A63F70C8}" type="presParOf" srcId="{3BB20A17-3641-49C2-8A38-7C39A1B585F7}" destId="{E7FDAED6-390C-4D2C-BF4C-0C62795FDB80}" srcOrd="0" destOrd="0" presId="urn:microsoft.com/office/officeart/2005/8/layout/process1"/>
    <dgm:cxn modelId="{8EF1E110-60C8-4843-A7A1-CA8EF887F4D3}" type="presParOf" srcId="{B56488A4-09AF-4FF8-B6D1-15B547F3A369}" destId="{634E77B6-E459-4466-B275-6BBAAAA77A5A}" srcOrd="8" destOrd="0" presId="urn:microsoft.com/office/officeart/2005/8/layout/process1"/>
    <dgm:cxn modelId="{21B1F034-2D48-4FD5-9CD3-293FAE32D111}" type="presParOf" srcId="{B56488A4-09AF-4FF8-B6D1-15B547F3A369}" destId="{4570E52D-0AC4-45F6-9E45-9FAA1DF0E16B}" srcOrd="9" destOrd="0" presId="urn:microsoft.com/office/officeart/2005/8/layout/process1"/>
    <dgm:cxn modelId="{C3DB26AE-F597-4792-B71C-6D3718585758}" type="presParOf" srcId="{4570E52D-0AC4-45F6-9E45-9FAA1DF0E16B}" destId="{AA5BB8CD-4B1E-4064-86FB-E9A6624F93EC}" srcOrd="0" destOrd="0" presId="urn:microsoft.com/office/officeart/2005/8/layout/process1"/>
    <dgm:cxn modelId="{79E9B865-5843-4C3D-B785-3672F7DB1552}" type="presParOf" srcId="{B56488A4-09AF-4FF8-B6D1-15B547F3A369}" destId="{1D2D1D5C-5915-4CF5-A2B6-C2F9DA1B3751}" srcOrd="10" destOrd="0" presId="urn:microsoft.com/office/officeart/2005/8/layout/process1"/>
    <dgm:cxn modelId="{0DED3AD7-AA92-41D0-96D1-F56C14B114AC}" type="presParOf" srcId="{B56488A4-09AF-4FF8-B6D1-15B547F3A369}" destId="{BFA41252-12A5-4C1B-9C35-6DF5AB57BEBA}" srcOrd="11" destOrd="0" presId="urn:microsoft.com/office/officeart/2005/8/layout/process1"/>
    <dgm:cxn modelId="{BEA955C4-7867-4CD5-805C-BB6EC3C222D7}" type="presParOf" srcId="{BFA41252-12A5-4C1B-9C35-6DF5AB57BEBA}" destId="{23AE41DC-D96E-4860-A79C-B9F8F61D1303}" srcOrd="0" destOrd="0" presId="urn:microsoft.com/office/officeart/2005/8/layout/process1"/>
    <dgm:cxn modelId="{429D6761-207A-483B-91DE-88BDF7F7A86B}" type="presParOf" srcId="{B56488A4-09AF-4FF8-B6D1-15B547F3A369}" destId="{C1C6C1AE-CB13-4710-BECF-220B5837B820}" srcOrd="12" destOrd="0" presId="urn:microsoft.com/office/officeart/2005/8/layout/process1"/>
    <dgm:cxn modelId="{E3FBB5D9-1323-43F9-AEE4-3A50389929BC}" type="presParOf" srcId="{B56488A4-09AF-4FF8-B6D1-15B547F3A369}" destId="{CECB42B2-F674-4A1B-81A7-39888C0EACB9}" srcOrd="13" destOrd="0" presId="urn:microsoft.com/office/officeart/2005/8/layout/process1"/>
    <dgm:cxn modelId="{BA6943E9-1329-444B-A911-868D91C1F7C3}" type="presParOf" srcId="{CECB42B2-F674-4A1B-81A7-39888C0EACB9}" destId="{E9CF956F-A441-4F60-A648-005A5AC3AC37}" srcOrd="0" destOrd="0" presId="urn:microsoft.com/office/officeart/2005/8/layout/process1"/>
    <dgm:cxn modelId="{E48BC6A5-F79D-4F3A-A5F5-FCB8DC9E2ADE}" type="presParOf" srcId="{B56488A4-09AF-4FF8-B6D1-15B547F3A369}" destId="{5604EB01-0E23-49C1-B8C1-FB032C568EC2}" srcOrd="1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dgm:spPr/>
      <dgm:t>
        <a:bodyPr/>
        <a:lstStyle/>
        <a:p>
          <a:endParaRPr lang="en-US"/>
        </a:p>
      </dgm:t>
    </dgm:pt>
    <dgm:pt modelId="{1D9DD77E-37CF-47C6-A20C-C791E922695F}">
      <dgm:prSet/>
      <dgm:spPr/>
      <dgm:t>
        <a:bodyPr/>
        <a:lstStyle/>
        <a:p>
          <a:r>
            <a:rPr lang="en-US" dirty="0">
              <a:solidFill>
                <a:schemeClr val="bg1"/>
              </a:solidFill>
            </a:rPr>
            <a:t>Individual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NeighborY="-6619"/>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phldr="1"/>
      <dgm:spPr/>
      <dgm:t>
        <a:bodyPr/>
        <a:lstStyle/>
        <a:p>
          <a:endParaRPr lang="en-US"/>
        </a:p>
      </dgm:t>
    </dgm:pt>
    <dgm:pt modelId="{1D9DD77E-37CF-47C6-A20C-C791E922695F}">
      <dgm:prSet/>
      <dgm:spPr/>
      <dgm:t>
        <a:bodyPr/>
        <a:lstStyle/>
        <a:p>
          <a:r>
            <a:rPr lang="en-US" dirty="0">
              <a:solidFill>
                <a:schemeClr val="bg1"/>
              </a:solidFill>
            </a:rPr>
            <a:t>Team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X="2143" custLinFactNeighborX="100000" custLinFactNeighborY="-4877"/>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Extend the Employee information [CRUD based] and add persistence</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FDDF2E94-E7BA-4635-8B5B-499241050D82}">
      <dgm:prSet/>
      <dgm:spPr/>
      <dgm:t>
        <a:bodyPr/>
        <a:lstStyle/>
        <a:p>
          <a:r>
            <a:rPr lang="en-US"/>
            <a:t>Add capability to search for a particular employee</a:t>
          </a:r>
        </a:p>
      </dgm:t>
    </dgm:pt>
    <dgm:pt modelId="{BF074528-6116-434B-A199-6515997D2632}" type="parTrans" cxnId="{8089B3F8-A031-42B2-8CC6-D6A80F8E21BB}">
      <dgm:prSet/>
      <dgm:spPr/>
      <dgm:t>
        <a:bodyPr/>
        <a:lstStyle/>
        <a:p>
          <a:endParaRPr lang="en-US"/>
        </a:p>
      </dgm:t>
    </dgm:pt>
    <dgm:pt modelId="{ADF0A805-54DD-49A0-AC5B-12306BF19606}" type="sibTrans" cxnId="{8089B3F8-A031-42B2-8CC6-D6A80F8E21BB}">
      <dgm:prSet/>
      <dgm:spPr/>
      <dgm:t>
        <a:bodyPr/>
        <a:lstStyle/>
        <a:p>
          <a:endParaRPr lang="en-US"/>
        </a:p>
      </dgm:t>
    </dgm:pt>
    <dgm:pt modelId="{F7CFB6EE-77B2-4658-9FB2-79777C42DB77}">
      <dgm:prSet/>
      <dgm:spPr/>
      <dgm:t>
        <a:bodyPr/>
        <a:lstStyle/>
        <a:p>
          <a:r>
            <a:rPr lang="en-US"/>
            <a:t>Enhance the Employee information application to maintain monthly pay slips for each employee</a:t>
          </a:r>
        </a:p>
      </dgm:t>
    </dgm:pt>
    <dgm:pt modelId="{C2BC60D5-7896-4B22-A8E8-581278C1D54F}" type="parTrans" cxnId="{CD0E76B9-7F6F-4FC8-B29B-AE9F86066744}">
      <dgm:prSet/>
      <dgm:spPr/>
      <dgm:t>
        <a:bodyPr/>
        <a:lstStyle/>
        <a:p>
          <a:endParaRPr lang="en-US"/>
        </a:p>
      </dgm:t>
    </dgm:pt>
    <dgm:pt modelId="{1B6C4542-8EF6-4461-9237-8A847765BD37}" type="sibTrans" cxnId="{CD0E76B9-7F6F-4FC8-B29B-AE9F86066744}">
      <dgm:prSet/>
      <dgm:spPr/>
      <dgm:t>
        <a:bodyPr/>
        <a:lstStyle/>
        <a:p>
          <a:endParaRPr lang="en-US"/>
        </a:p>
      </dgm:t>
    </dgm:pt>
    <dgm:pt modelId="{70614A76-5E03-4EEF-AA43-0C430B212BEC}">
      <dgm:prSet/>
      <dgm:spPr/>
      <dgm:t>
        <a:bodyPr/>
        <a:lstStyle/>
        <a:p>
          <a:r>
            <a:rPr lang="en-US"/>
            <a:t>Implement the Employee information application  to track all projects [assume employees to be working on multiple projects simultaneously]  each employee is working on</a:t>
          </a:r>
        </a:p>
      </dgm:t>
    </dgm:pt>
    <dgm:pt modelId="{1191B75F-5088-4D91-89C5-D9B8F950E4E0}" type="parTrans" cxnId="{A3C99273-143F-489F-8E12-BC028A6A19C3}">
      <dgm:prSet/>
      <dgm:spPr/>
      <dgm:t>
        <a:bodyPr/>
        <a:lstStyle/>
        <a:p>
          <a:endParaRPr lang="en-US"/>
        </a:p>
      </dgm:t>
    </dgm:pt>
    <dgm:pt modelId="{2F1D07AB-8D3E-4A5A-BF33-7EBFA9B25D5E}" type="sibTrans" cxnId="{A3C99273-143F-489F-8E12-BC028A6A19C3}">
      <dgm:prSet/>
      <dgm:spPr/>
      <dgm:t>
        <a:bodyPr/>
        <a:lstStyle/>
        <a:p>
          <a:endParaRPr lang="en-US"/>
        </a:p>
      </dgm:t>
    </dgm:pt>
    <dgm:pt modelId="{48897E8A-C312-42FA-B1DF-06FE7AEFE00D}">
      <dgm:prSet/>
      <dgm:spPr/>
      <dgm:t>
        <a:bodyPr/>
        <a:lstStyle/>
        <a:p>
          <a:r>
            <a:rPr lang="en-US" dirty="0"/>
            <a:t>Add capability to search for all projects an employee is working on or list all employees working in a particular project</a:t>
          </a:r>
        </a:p>
      </dgm:t>
    </dgm:pt>
    <dgm:pt modelId="{59A2B71F-8BF9-4081-AB3E-34B37A48FE89}" type="parTrans" cxnId="{0D2092F3-226F-4181-A977-3C5A7406FE7A}">
      <dgm:prSet/>
      <dgm:spPr/>
      <dgm:t>
        <a:bodyPr/>
        <a:lstStyle/>
        <a:p>
          <a:endParaRPr lang="en-US"/>
        </a:p>
      </dgm:t>
    </dgm:pt>
    <dgm:pt modelId="{8DF571FA-177D-428B-BCFE-9B343AFDB8BB}" type="sibTrans" cxnId="{0D2092F3-226F-4181-A977-3C5A7406FE7A}">
      <dgm:prSet/>
      <dgm:spPr/>
      <dgm:t>
        <a:bodyPr/>
        <a:lstStyle/>
        <a:p>
          <a:endParaRPr lang="en-US"/>
        </a:p>
      </dgm:t>
    </dgm:pt>
    <dgm:pt modelId="{77BCB8AB-929A-4AC5-A946-4CE7065217EA}">
      <dgm:prSet/>
      <dgm:spPr/>
      <dgm:t>
        <a:bodyPr/>
        <a:lstStyle/>
        <a:p>
          <a:r>
            <a:rPr lang="en-US"/>
            <a:t>Convert the log messages to go into a file instead of the console.</a:t>
          </a:r>
        </a:p>
      </dgm:t>
    </dgm:pt>
    <dgm:pt modelId="{19F6C8DC-F4EE-4792-9185-04164BF555CF}" type="parTrans" cxnId="{EE69C8B1-C44F-4A11-B466-B724DC469FAD}">
      <dgm:prSet/>
      <dgm:spPr/>
      <dgm:t>
        <a:bodyPr/>
        <a:lstStyle/>
        <a:p>
          <a:endParaRPr lang="en-US"/>
        </a:p>
      </dgm:t>
    </dgm:pt>
    <dgm:pt modelId="{47DE4F6C-9E7E-4B32-BA57-C86C1378FE74}" type="sibTrans" cxnId="{EE69C8B1-C44F-4A11-B466-B724DC469FAD}">
      <dgm:prSet/>
      <dgm:spPr/>
      <dgm:t>
        <a:bodyPr/>
        <a:lstStyle/>
        <a:p>
          <a:endParaRPr lang="en-US"/>
        </a:p>
      </dgm:t>
    </dgm:pt>
    <dgm:pt modelId="{B17ADFC8-9C97-4788-A1B2-65D227BDBF5B}">
      <dgm:prSet/>
      <dgm:spPr/>
      <dgm:t>
        <a:bodyPr/>
        <a:lstStyle/>
        <a:p>
          <a:r>
            <a:rPr lang="en-US"/>
            <a:t>If the number of employees is too large to bring all records into memory for processing, how will manage the CRUD operation in this scenario?</a:t>
          </a:r>
        </a:p>
      </dgm:t>
    </dgm:pt>
    <dgm:pt modelId="{12EF85D9-CC61-4714-A1A9-61C5EF6EA8B6}" type="parTrans" cxnId="{1CCCCD76-0687-4333-9164-0B478B8A1B9D}">
      <dgm:prSet/>
      <dgm:spPr/>
      <dgm:t>
        <a:bodyPr/>
        <a:lstStyle/>
        <a:p>
          <a:endParaRPr lang="en-US"/>
        </a:p>
      </dgm:t>
    </dgm:pt>
    <dgm:pt modelId="{C279D7A9-2954-42B8-A48A-835ADF9D12CB}" type="sibTrans" cxnId="{1CCCCD76-0687-4333-9164-0B478B8A1B9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08226213-F0C7-47E0-BB82-2EF9327D8AFD}" srcId="{16D0C510-BD6B-4470-99EE-B63B0CE1051E}" destId="{45347C14-70A1-4B49-AF96-590466B5578B}" srcOrd="0"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7BDA0433-C971-45A2-8295-F47498759E75}" type="presOf" srcId="{B17ADFC8-9C97-4788-A1B2-65D227BDBF5B}" destId="{AA89B326-56FA-412B-A913-C6B0240A88D6}" srcOrd="0" destOrd="6"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A3C99273-143F-489F-8E12-BC028A6A19C3}" srcId="{16D0C510-BD6B-4470-99EE-B63B0CE1051E}" destId="{70614A76-5E03-4EEF-AA43-0C430B212BEC}" srcOrd="3" destOrd="0" parTransId="{1191B75F-5088-4D91-89C5-D9B8F950E4E0}" sibTransId="{2F1D07AB-8D3E-4A5A-BF33-7EBFA9B25D5E}"/>
    <dgm:cxn modelId="{1CCCCD76-0687-4333-9164-0B478B8A1B9D}" srcId="{16D0C510-BD6B-4470-99EE-B63B0CE1051E}" destId="{B17ADFC8-9C97-4788-A1B2-65D227BDBF5B}" srcOrd="6" destOrd="0" parTransId="{12EF85D9-CC61-4714-A1A9-61C5EF6EA8B6}" sibTransId="{C279D7A9-2954-42B8-A48A-835ADF9D12CB}"/>
    <dgm:cxn modelId="{B7D6EF76-829F-4AC2-AB80-C8370DF690D3}" type="presOf" srcId="{2BBB98CD-F07A-4D75-BA22-800A74F528A8}" destId="{0A4390B1-51C0-4D6A-8E63-2784AF505AD5}" srcOrd="0" destOrd="0" presId="urn:microsoft.com/office/officeart/2005/8/layout/vList2"/>
    <dgm:cxn modelId="{30CC2677-BF37-46AF-9630-ECBD188CEB86}" type="presOf" srcId="{FDDF2E94-E7BA-4635-8B5B-499241050D82}" destId="{AA89B326-56FA-412B-A913-C6B0240A88D6}" srcOrd="0" destOrd="1" presId="urn:microsoft.com/office/officeart/2005/8/layout/vList2"/>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C6F61C90-64F8-4F80-8861-EF5AA781421C}" type="presOf" srcId="{70614A76-5E03-4EEF-AA43-0C430B212BEC}" destId="{AA89B326-56FA-412B-A913-C6B0240A88D6}" srcOrd="0" destOrd="3" presId="urn:microsoft.com/office/officeart/2005/8/layout/vList2"/>
    <dgm:cxn modelId="{EE69C8B1-C44F-4A11-B466-B724DC469FAD}" srcId="{16D0C510-BD6B-4470-99EE-B63B0CE1051E}" destId="{77BCB8AB-929A-4AC5-A946-4CE7065217EA}" srcOrd="5" destOrd="0" parTransId="{19F6C8DC-F4EE-4792-9185-04164BF555CF}" sibTransId="{47DE4F6C-9E7E-4B32-BA57-C86C1378FE74}"/>
    <dgm:cxn modelId="{CD0E76B9-7F6F-4FC8-B29B-AE9F86066744}" srcId="{16D0C510-BD6B-4470-99EE-B63B0CE1051E}" destId="{F7CFB6EE-77B2-4658-9FB2-79777C42DB77}" srcOrd="2" destOrd="0" parTransId="{C2BC60D5-7896-4B22-A8E8-581278C1D54F}" sibTransId="{1B6C4542-8EF6-4461-9237-8A847765BD37}"/>
    <dgm:cxn modelId="{89B908DC-9EBD-4BE1-AEC6-C2C772A7CA1B}" type="presOf" srcId="{77BCB8AB-929A-4AC5-A946-4CE7065217EA}" destId="{AA89B326-56FA-412B-A913-C6B0240A88D6}" srcOrd="0" destOrd="5" presId="urn:microsoft.com/office/officeart/2005/8/layout/vList2"/>
    <dgm:cxn modelId="{1B3A2EE6-7F54-4A4B-ABA8-98605F6F5637}" type="presOf" srcId="{45347C14-70A1-4B49-AF96-590466B5578B}" destId="{AA89B326-56FA-412B-A913-C6B0240A88D6}" srcOrd="0" destOrd="0" presId="urn:microsoft.com/office/officeart/2005/8/layout/vList2"/>
    <dgm:cxn modelId="{0D2092F3-226F-4181-A977-3C5A7406FE7A}" srcId="{16D0C510-BD6B-4470-99EE-B63B0CE1051E}" destId="{48897E8A-C312-42FA-B1DF-06FE7AEFE00D}" srcOrd="4" destOrd="0" parTransId="{59A2B71F-8BF9-4081-AB3E-34B37A48FE89}" sibTransId="{8DF571FA-177D-428B-BCFE-9B343AFDB8BB}"/>
    <dgm:cxn modelId="{8089B3F8-A031-42B2-8CC6-D6A80F8E21BB}" srcId="{16D0C510-BD6B-4470-99EE-B63B0CE1051E}" destId="{FDDF2E94-E7BA-4635-8B5B-499241050D82}" srcOrd="1" destOrd="0" parTransId="{BF074528-6116-434B-A199-6515997D2632}" sibTransId="{ADF0A805-54DD-49A0-AC5B-12306BF19606}"/>
    <dgm:cxn modelId="{1195F4FA-985C-4088-8953-18AAB57D64DA}" type="presOf" srcId="{48897E8A-C312-42FA-B1DF-06FE7AEFE00D}" destId="{AA89B326-56FA-412B-A913-C6B0240A88D6}" srcOrd="0" destOrd="4" presId="urn:microsoft.com/office/officeart/2005/8/layout/vList2"/>
    <dgm:cxn modelId="{1290D7FF-0915-4AFA-A959-84C096D9B133}" type="presOf" srcId="{F7CFB6EE-77B2-4658-9FB2-79777C42DB77}" destId="{AA89B326-56FA-412B-A913-C6B0240A88D6}" srcOrd="0" destOrd="2"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Add capability to search for a particular employee using a Hash table </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A77CEB8C-905A-4FD3-94C6-AB9056714BF3}">
      <dgm:prSet/>
      <dgm:spPr/>
      <dgm:t>
        <a:bodyPr/>
        <a:lstStyle/>
        <a:p>
          <a:r>
            <a:rPr lang="en-US" dirty="0">
              <a:hlinkClick xmlns:r="http://schemas.openxmlformats.org/officeDocument/2006/relationships" r:id="rId1"/>
            </a:rPr>
            <a:t>https://medium.freecodecamp.org/how-to-implement-a-simple-hash-table-in-javascript-cb3b9c1f2997</a:t>
          </a:r>
          <a:endParaRPr lang="en-US" dirty="0"/>
        </a:p>
      </dgm:t>
    </dgm:pt>
    <dgm:pt modelId="{49457C7F-BB76-4B0E-B15A-62156090692D}" type="parTrans" cxnId="{8ACC75A8-729A-4229-A3CA-975059B684EF}">
      <dgm:prSet/>
      <dgm:spPr/>
      <dgm:t>
        <a:bodyPr/>
        <a:lstStyle/>
        <a:p>
          <a:endParaRPr lang="en-US"/>
        </a:p>
      </dgm:t>
    </dgm:pt>
    <dgm:pt modelId="{4C28FEE7-4A5B-4316-B714-69865C311C40}" type="sibTrans" cxnId="{8ACC75A8-729A-4229-A3CA-975059B684EF}">
      <dgm:prSet/>
      <dgm:spPr/>
      <dgm:t>
        <a:bodyPr/>
        <a:lstStyle/>
        <a:p>
          <a:endParaRPr lang="en-US"/>
        </a:p>
      </dgm:t>
    </dgm:pt>
    <dgm:pt modelId="{69878EF2-D366-4BC6-B93E-4BADCB8B1056}">
      <dgm:prSet/>
      <dgm:spPr/>
      <dgm:t>
        <a:bodyPr/>
        <a:lstStyle/>
        <a:p>
          <a:r>
            <a:rPr lang="en-US" dirty="0"/>
            <a:t>Read the difference between Object, map, </a:t>
          </a:r>
          <a:r>
            <a:rPr lang="en-US" dirty="0" err="1"/>
            <a:t>HashMap</a:t>
          </a:r>
          <a:r>
            <a:rPr lang="en-US" dirty="0"/>
            <a:t> in JavaScript</a:t>
          </a:r>
        </a:p>
      </dgm:t>
    </dgm:pt>
    <dgm:pt modelId="{306040BB-1321-4EA0-9747-1B854A122076}" type="parTrans" cxnId="{A36DD90D-35DC-4C81-8CE7-6734A992FAD8}">
      <dgm:prSet/>
      <dgm:spPr/>
      <dgm:t>
        <a:bodyPr/>
        <a:lstStyle/>
        <a:p>
          <a:endParaRPr lang="en-US"/>
        </a:p>
      </dgm:t>
    </dgm:pt>
    <dgm:pt modelId="{322B0F52-76DF-4D94-8661-79C4BAA6F3A5}" type="sibTrans" cxnId="{A36DD90D-35DC-4C81-8CE7-6734A992FAD8}">
      <dgm:prSet/>
      <dgm:spPr/>
      <dgm:t>
        <a:bodyPr/>
        <a:lstStyle/>
        <a:p>
          <a:endParaRPr lang="en-US"/>
        </a:p>
      </dgm:t>
    </dgm:pt>
    <dgm:pt modelId="{614C2B21-6EE7-47AC-A7DC-CA92C82E48B3}">
      <dgm:prSet/>
      <dgm:spPr/>
      <dgm:t>
        <a:bodyPr/>
        <a:lstStyle/>
        <a:p>
          <a:r>
            <a:rPr lang="en-US" dirty="0"/>
            <a:t>Use a random access file to store employee information</a:t>
          </a:r>
        </a:p>
      </dgm:t>
    </dgm:pt>
    <dgm:pt modelId="{3B509D61-89CA-43E5-B629-5CEBF4068DAE}" type="parTrans" cxnId="{EF4A8F7C-5474-4165-940B-CC9E0C0424AB}">
      <dgm:prSet/>
      <dgm:spPr/>
      <dgm:t>
        <a:bodyPr/>
        <a:lstStyle/>
        <a:p>
          <a:endParaRPr lang="en-US"/>
        </a:p>
      </dgm:t>
    </dgm:pt>
    <dgm:pt modelId="{DF0E740C-814C-477B-940E-5A72FDA13921}" type="sibTrans" cxnId="{EF4A8F7C-5474-4165-940B-CC9E0C0424AB}">
      <dgm:prSet/>
      <dgm:spPr/>
      <dgm:t>
        <a:bodyPr/>
        <a:lstStyle/>
        <a:p>
          <a:endParaRPr lang="en-US"/>
        </a:p>
      </dgm:t>
    </dgm:pt>
    <dgm:pt modelId="{F1CACFC0-765D-4E8A-89C1-F60E974BAB35}">
      <dgm:prSet/>
      <dgm:spPr/>
      <dgm:t>
        <a:bodyPr/>
        <a:lstStyle/>
        <a:p>
          <a:r>
            <a:rPr lang="en-US" dirty="0"/>
            <a:t>Add capability to search for a particular employee in the random access file using a simple index using an in=memory Hash table</a:t>
          </a:r>
        </a:p>
      </dgm:t>
    </dgm:pt>
    <dgm:pt modelId="{DE204EA9-4793-4917-AD9C-0CBFDF9C0BC3}" type="parTrans" cxnId="{FC0D21D1-E72F-40D1-8F34-C47596C3B937}">
      <dgm:prSet/>
      <dgm:spPr/>
      <dgm:t>
        <a:bodyPr/>
        <a:lstStyle/>
        <a:p>
          <a:endParaRPr lang="en-US"/>
        </a:p>
      </dgm:t>
    </dgm:pt>
    <dgm:pt modelId="{0FC132D4-FF8E-4CF2-AA9D-2DBB96EEF782}" type="sibTrans" cxnId="{FC0D21D1-E72F-40D1-8F34-C47596C3B937}">
      <dgm:prSet/>
      <dgm:spPr/>
      <dgm:t>
        <a:bodyPr/>
        <a:lstStyle/>
        <a:p>
          <a:endParaRPr lang="en-US"/>
        </a:p>
      </dgm:t>
    </dgm:pt>
    <dgm:pt modelId="{F7E66D88-C567-4656-A5B1-26A35F48CFB8}">
      <dgm:prSet/>
      <dgm:spPr/>
      <dgm:t>
        <a:bodyPr/>
        <a:lstStyle/>
        <a:p>
          <a:r>
            <a:rPr lang="en-US" dirty="0"/>
            <a:t>Read the differences between different database indexing mechanisms</a:t>
          </a:r>
        </a:p>
      </dgm:t>
    </dgm:pt>
    <dgm:pt modelId="{F3F91622-299A-4B67-8C5D-EC249DCC4D46}" type="parTrans" cxnId="{F22D106C-0339-420F-A8D8-C4A8E7F7DBC0}">
      <dgm:prSet/>
      <dgm:spPr/>
      <dgm:t>
        <a:bodyPr/>
        <a:lstStyle/>
        <a:p>
          <a:endParaRPr lang="en-US"/>
        </a:p>
      </dgm:t>
    </dgm:pt>
    <dgm:pt modelId="{553F0878-4CD3-49EE-9E28-AB3F1314B1E6}" type="sibTrans" cxnId="{F22D106C-0339-420F-A8D8-C4A8E7F7DBC0}">
      <dgm:prSet/>
      <dgm:spPr/>
      <dgm:t>
        <a:bodyPr/>
        <a:lstStyle/>
        <a:p>
          <a:endParaRPr lang="en-US"/>
        </a:p>
      </dgm:t>
    </dgm:pt>
    <dgm:pt modelId="{7008115E-104C-4F70-954A-3A0582E87A65}">
      <dgm:prSet/>
      <dgm:spPr/>
      <dgm:t>
        <a:bodyPr/>
        <a:lstStyle/>
        <a:p>
          <a:r>
            <a:rPr lang="en-US" dirty="0">
              <a:hlinkClick xmlns:r="http://schemas.openxmlformats.org/officeDocument/2006/relationships" r:id="rId2"/>
            </a:rPr>
            <a:t>https://en.wikipedia.org/wiki/Database_index</a:t>
          </a:r>
          <a:endParaRPr lang="en-US" dirty="0"/>
        </a:p>
      </dgm:t>
    </dgm:pt>
    <dgm:pt modelId="{27BD5A19-33D8-4FD2-B05E-60060C6865A6}" type="parTrans" cxnId="{6928FCD9-F2F2-41E6-B68B-06353E1D895A}">
      <dgm:prSet/>
      <dgm:spPr/>
      <dgm:t>
        <a:bodyPr/>
        <a:lstStyle/>
        <a:p>
          <a:endParaRPr lang="en-US"/>
        </a:p>
      </dgm:t>
    </dgm:pt>
    <dgm:pt modelId="{08DEBB8A-D9E5-4181-9C16-0CD6E6FED710}" type="sibTrans" cxnId="{6928FCD9-F2F2-41E6-B68B-06353E1D895A}">
      <dgm:prSet/>
      <dgm:spPr/>
      <dgm:t>
        <a:bodyPr/>
        <a:lstStyle/>
        <a:p>
          <a:endParaRPr lang="en-US"/>
        </a:p>
      </dgm:t>
    </dgm:pt>
    <dgm:pt modelId="{327DC9FC-61B8-4BE1-817C-2CF7813B0C35}">
      <dgm:prSet/>
      <dgm:spPr/>
      <dgm:t>
        <a:bodyPr/>
        <a:lstStyle/>
        <a:p>
          <a:r>
            <a:rPr lang="en-US" dirty="0"/>
            <a:t>Implement Merge Sort and binary search for the employee records</a:t>
          </a:r>
        </a:p>
      </dgm:t>
    </dgm:pt>
    <dgm:pt modelId="{DC450707-11F8-44E1-9B6A-246D4E7DAAD5}" type="parTrans" cxnId="{D119E903-08FD-413D-8F0D-BFE70C41C4B5}">
      <dgm:prSet/>
      <dgm:spPr/>
      <dgm:t>
        <a:bodyPr/>
        <a:lstStyle/>
        <a:p>
          <a:endParaRPr lang="en-US"/>
        </a:p>
      </dgm:t>
    </dgm:pt>
    <dgm:pt modelId="{641ACBC0-4525-4712-9718-8C1B38A01289}" type="sibTrans" cxnId="{D119E903-08FD-413D-8F0D-BFE70C41C4B5}">
      <dgm:prSet/>
      <dgm:spPr/>
      <dgm:t>
        <a:bodyPr/>
        <a:lstStyle/>
        <a:p>
          <a:endParaRPr lang="en-US"/>
        </a:p>
      </dgm:t>
    </dgm:pt>
    <dgm:pt modelId="{4D220868-B1E0-4A8F-8376-F7A14C04D802}">
      <dgm:prSet/>
      <dgm:spPr/>
      <dgm:t>
        <a:bodyPr/>
        <a:lstStyle/>
        <a:p>
          <a:endParaRPr lang="en-US" dirty="0"/>
        </a:p>
      </dgm:t>
    </dgm:pt>
    <dgm:pt modelId="{05CB6BDA-3AC2-4918-8C98-7BCB628329C6}" type="parTrans" cxnId="{504AF59B-FBDF-44DC-B16F-6621D3E289C6}">
      <dgm:prSet/>
      <dgm:spPr/>
      <dgm:t>
        <a:bodyPr/>
        <a:lstStyle/>
        <a:p>
          <a:endParaRPr lang="en-US"/>
        </a:p>
      </dgm:t>
    </dgm:pt>
    <dgm:pt modelId="{0F9D23F3-BB22-4A4A-B5D5-21EE5E1FE2AD}" type="sibTrans" cxnId="{504AF59B-FBDF-44DC-B16F-6621D3E289C6}">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D119E903-08FD-413D-8F0D-BFE70C41C4B5}" srcId="{16D0C510-BD6B-4470-99EE-B63B0CE1051E}" destId="{327DC9FC-61B8-4BE1-817C-2CF7813B0C35}" srcOrd="5" destOrd="0" parTransId="{DC450707-11F8-44E1-9B6A-246D4E7DAAD5}" sibTransId="{641ACBC0-4525-4712-9718-8C1B38A01289}"/>
    <dgm:cxn modelId="{A36DD90D-35DC-4C81-8CE7-6734A992FAD8}" srcId="{45347C14-70A1-4B49-AF96-590466B5578B}" destId="{69878EF2-D366-4BC6-B93E-4BADCB8B1056}" srcOrd="1" destOrd="0" parTransId="{306040BB-1321-4EA0-9747-1B854A122076}" sibTransId="{322B0F52-76DF-4D94-8661-79C4BAA6F3A5}"/>
    <dgm:cxn modelId="{08226213-F0C7-47E0-BB82-2EF9327D8AFD}" srcId="{16D0C510-BD6B-4470-99EE-B63B0CE1051E}" destId="{45347C14-70A1-4B49-AF96-590466B5578B}" srcOrd="1"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F22D106C-0339-420F-A8D8-C4A8E7F7DBC0}" srcId="{16D0C510-BD6B-4470-99EE-B63B0CE1051E}" destId="{F7E66D88-C567-4656-A5B1-26A35F48CFB8}" srcOrd="4" destOrd="0" parTransId="{F3F91622-299A-4B67-8C5D-EC249DCC4D46}" sibTransId="{553F0878-4CD3-49EE-9E28-AB3F1314B1E6}"/>
    <dgm:cxn modelId="{8B6AAC4D-B5B9-496F-9E46-C84436F43C44}" type="presOf" srcId="{A77CEB8C-905A-4FD3-94C6-AB9056714BF3}" destId="{AA89B326-56FA-412B-A913-C6B0240A88D6}" srcOrd="0" destOrd="2"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B7D6EF76-829F-4AC2-AB80-C8370DF690D3}" type="presOf" srcId="{2BBB98CD-F07A-4D75-BA22-800A74F528A8}" destId="{0A4390B1-51C0-4D6A-8E63-2784AF505AD5}" srcOrd="0" destOrd="0" presId="urn:microsoft.com/office/officeart/2005/8/layout/vList2"/>
    <dgm:cxn modelId="{EF4A8F7C-5474-4165-940B-CC9E0C0424AB}" srcId="{16D0C510-BD6B-4470-99EE-B63B0CE1051E}" destId="{614C2B21-6EE7-47AC-A7DC-CA92C82E48B3}" srcOrd="2" destOrd="0" parTransId="{3B509D61-89CA-43E5-B629-5CEBF4068DAE}" sibTransId="{DF0E740C-814C-477B-940E-5A72FDA13921}"/>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3B894D8A-6030-4D96-A5A3-DA10E1C35FE3}" type="presOf" srcId="{69878EF2-D366-4BC6-B93E-4BADCB8B1056}" destId="{AA89B326-56FA-412B-A913-C6B0240A88D6}" srcOrd="0" destOrd="3" presId="urn:microsoft.com/office/officeart/2005/8/layout/vList2"/>
    <dgm:cxn modelId="{504AF59B-FBDF-44DC-B16F-6621D3E289C6}" srcId="{16D0C510-BD6B-4470-99EE-B63B0CE1051E}" destId="{4D220868-B1E0-4A8F-8376-F7A14C04D802}" srcOrd="0" destOrd="0" parTransId="{05CB6BDA-3AC2-4918-8C98-7BCB628329C6}" sibTransId="{0F9D23F3-BB22-4A4A-B5D5-21EE5E1FE2AD}"/>
    <dgm:cxn modelId="{8ACC75A8-729A-4229-A3CA-975059B684EF}" srcId="{45347C14-70A1-4B49-AF96-590466B5578B}" destId="{A77CEB8C-905A-4FD3-94C6-AB9056714BF3}" srcOrd="0" destOrd="0" parTransId="{49457C7F-BB76-4B0E-B15A-62156090692D}" sibTransId="{4C28FEE7-4A5B-4316-B714-69865C311C40}"/>
    <dgm:cxn modelId="{9944EFAD-12EF-4041-8498-9C56F51D1455}" type="presOf" srcId="{F7E66D88-C567-4656-A5B1-26A35F48CFB8}" destId="{AA89B326-56FA-412B-A913-C6B0240A88D6}" srcOrd="0" destOrd="6" presId="urn:microsoft.com/office/officeart/2005/8/layout/vList2"/>
    <dgm:cxn modelId="{068F39B2-69BE-4988-8D56-2CE0B60FE8F8}" type="presOf" srcId="{614C2B21-6EE7-47AC-A7DC-CA92C82E48B3}" destId="{AA89B326-56FA-412B-A913-C6B0240A88D6}" srcOrd="0" destOrd="4" presId="urn:microsoft.com/office/officeart/2005/8/layout/vList2"/>
    <dgm:cxn modelId="{D99E80CB-9434-4783-80BF-EEA8EC313ED9}" type="presOf" srcId="{F1CACFC0-765D-4E8A-89C1-F60E974BAB35}" destId="{AA89B326-56FA-412B-A913-C6B0240A88D6}" srcOrd="0" destOrd="5" presId="urn:microsoft.com/office/officeart/2005/8/layout/vList2"/>
    <dgm:cxn modelId="{FC0D21D1-E72F-40D1-8F34-C47596C3B937}" srcId="{16D0C510-BD6B-4470-99EE-B63B0CE1051E}" destId="{F1CACFC0-765D-4E8A-89C1-F60E974BAB35}" srcOrd="3" destOrd="0" parTransId="{DE204EA9-4793-4917-AD9C-0CBFDF9C0BC3}" sibTransId="{0FC132D4-FF8E-4CF2-AA9D-2DBB96EEF782}"/>
    <dgm:cxn modelId="{6928FCD9-F2F2-41E6-B68B-06353E1D895A}" srcId="{F7E66D88-C567-4656-A5B1-26A35F48CFB8}" destId="{7008115E-104C-4F70-954A-3A0582E87A65}" srcOrd="0" destOrd="0" parTransId="{27BD5A19-33D8-4FD2-B05E-60060C6865A6}" sibTransId="{08DEBB8A-D9E5-4181-9C16-0CD6E6FED710}"/>
    <dgm:cxn modelId="{84B114DA-A999-4D65-9B2A-5C04012A23AA}" type="presOf" srcId="{4D220868-B1E0-4A8F-8376-F7A14C04D802}" destId="{AA89B326-56FA-412B-A913-C6B0240A88D6}" srcOrd="0" destOrd="0" presId="urn:microsoft.com/office/officeart/2005/8/layout/vList2"/>
    <dgm:cxn modelId="{A30D5CDC-23A3-482C-A072-DA65C3247DC3}" type="presOf" srcId="{7008115E-104C-4F70-954A-3A0582E87A65}" destId="{AA89B326-56FA-412B-A913-C6B0240A88D6}" srcOrd="0" destOrd="7" presId="urn:microsoft.com/office/officeart/2005/8/layout/vList2"/>
    <dgm:cxn modelId="{1B3A2EE6-7F54-4A4B-ABA8-98605F6F5637}" type="presOf" srcId="{45347C14-70A1-4B49-AF96-590466B5578B}" destId="{AA89B326-56FA-412B-A913-C6B0240A88D6}" srcOrd="0" destOrd="1" presId="urn:microsoft.com/office/officeart/2005/8/layout/vList2"/>
    <dgm:cxn modelId="{93545AEF-B833-4118-81EE-0ABC8C13B162}" type="presOf" srcId="{327DC9FC-61B8-4BE1-817C-2CF7813B0C35}" destId="{AA89B326-56FA-412B-A913-C6B0240A88D6}" srcOrd="0" destOrd="8"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92DE4-E824-41D9-8958-07D58E16DF94}">
      <dsp:nvSpPr>
        <dsp:cNvPr id="0" name=""/>
        <dsp:cNvSpPr/>
      </dsp:nvSpPr>
      <dsp:spPr>
        <a:xfrm>
          <a:off x="5304774" y="191760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3B7E64-C22A-45D9-B024-B7A9AED0C1C3}">
      <dsp:nvSpPr>
        <dsp:cNvPr id="0" name=""/>
        <dsp:cNvSpPr/>
      </dsp:nvSpPr>
      <dsp:spPr>
        <a:xfrm>
          <a:off x="4053500" y="772503"/>
          <a:ext cx="1869187" cy="324404"/>
        </a:xfrm>
        <a:custGeom>
          <a:avLst/>
          <a:gdLst/>
          <a:ahLst/>
          <a:cxnLst/>
          <a:rect l="0" t="0" r="0" b="0"/>
          <a:pathLst>
            <a:path>
              <a:moveTo>
                <a:pt x="0" y="0"/>
              </a:moveTo>
              <a:lnTo>
                <a:pt x="0" y="162202"/>
              </a:lnTo>
              <a:lnTo>
                <a:pt x="1869187" y="162202"/>
              </a:lnTo>
              <a:lnTo>
                <a:pt x="1869187"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65572F-32EF-40B9-98CA-7D99E615A310}">
      <dsp:nvSpPr>
        <dsp:cNvPr id="0" name=""/>
        <dsp:cNvSpPr/>
      </dsp:nvSpPr>
      <dsp:spPr>
        <a:xfrm>
          <a:off x="3435586" y="1942854"/>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0FF95F-092E-4762-8A32-9F447AAE9E31}">
      <dsp:nvSpPr>
        <dsp:cNvPr id="0" name=""/>
        <dsp:cNvSpPr/>
      </dsp:nvSpPr>
      <dsp:spPr>
        <a:xfrm>
          <a:off x="3435586" y="194285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388E17-C062-4A25-86DF-0652A2EF0439}">
      <dsp:nvSpPr>
        <dsp:cNvPr id="0" name=""/>
        <dsp:cNvSpPr/>
      </dsp:nvSpPr>
      <dsp:spPr>
        <a:xfrm>
          <a:off x="4007780" y="772503"/>
          <a:ext cx="91440" cy="324404"/>
        </a:xfrm>
        <a:custGeom>
          <a:avLst/>
          <a:gdLst/>
          <a:ahLst/>
          <a:cxnLst/>
          <a:rect l="0" t="0" r="0" b="0"/>
          <a:pathLst>
            <a:path>
              <a:moveTo>
                <a:pt x="45720" y="0"/>
              </a:moveTo>
              <a:lnTo>
                <a:pt x="4572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E3312E-9A64-47F7-8CA1-6A485A5627D5}">
      <dsp:nvSpPr>
        <dsp:cNvPr id="0" name=""/>
        <dsp:cNvSpPr/>
      </dsp:nvSpPr>
      <dsp:spPr>
        <a:xfrm>
          <a:off x="1566399" y="1971896"/>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E950AC-307C-49A6-87D3-1CBDE44C5DBF}">
      <dsp:nvSpPr>
        <dsp:cNvPr id="0" name=""/>
        <dsp:cNvSpPr/>
      </dsp:nvSpPr>
      <dsp:spPr>
        <a:xfrm>
          <a:off x="1566399" y="1971896"/>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E0D1BD-6196-4066-BF5E-1492B203FB1C}">
      <dsp:nvSpPr>
        <dsp:cNvPr id="0" name=""/>
        <dsp:cNvSpPr/>
      </dsp:nvSpPr>
      <dsp:spPr>
        <a:xfrm>
          <a:off x="2184312" y="772503"/>
          <a:ext cx="1869187" cy="324404"/>
        </a:xfrm>
        <a:custGeom>
          <a:avLst/>
          <a:gdLst/>
          <a:ahLst/>
          <a:cxnLst/>
          <a:rect l="0" t="0" r="0" b="0"/>
          <a:pathLst>
            <a:path>
              <a:moveTo>
                <a:pt x="1869187" y="0"/>
              </a:moveTo>
              <a:lnTo>
                <a:pt x="1869187" y="162202"/>
              </a:lnTo>
              <a:lnTo>
                <a:pt x="0" y="162202"/>
              </a:lnTo>
              <a:lnTo>
                <a:pt x="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5EEADA-CE3D-4163-80F4-CB70724EEA75}">
      <dsp:nvSpPr>
        <dsp:cNvPr id="0" name=""/>
        <dsp:cNvSpPr/>
      </dsp:nvSpPr>
      <dsp:spPr>
        <a:xfrm>
          <a:off x="3281108" y="112"/>
          <a:ext cx="1544782" cy="772391"/>
        </a:xfrm>
        <a:prstGeom prst="rect">
          <a:avLst/>
        </a:prstGeom>
        <a:solidFill>
          <a:schemeClr val="accent5">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Objectives</a:t>
          </a:r>
        </a:p>
      </dsp:txBody>
      <dsp:txXfrm>
        <a:off x="3281108" y="112"/>
        <a:ext cx="1544782" cy="772391"/>
      </dsp:txXfrm>
    </dsp:sp>
    <dsp:sp modelId="{26C629AF-38DC-40C1-928F-5123B96509E5}">
      <dsp:nvSpPr>
        <dsp:cNvPr id="0" name=""/>
        <dsp:cNvSpPr/>
      </dsp:nvSpPr>
      <dsp:spPr>
        <a:xfrm>
          <a:off x="1411921" y="1096907"/>
          <a:ext cx="1544782" cy="874988"/>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Programming skills – 35% marks</a:t>
          </a:r>
        </a:p>
      </dsp:txBody>
      <dsp:txXfrm>
        <a:off x="1411921" y="1096907"/>
        <a:ext cx="1544782" cy="874988"/>
      </dsp:txXfrm>
    </dsp:sp>
    <dsp:sp modelId="{E3F679D2-B6B7-4DD3-AE39-C90FE694DBB7}">
      <dsp:nvSpPr>
        <dsp:cNvPr id="0" name=""/>
        <dsp:cNvSpPr/>
      </dsp:nvSpPr>
      <dsp:spPr>
        <a:xfrm>
          <a:off x="1798117" y="2296300"/>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Hands on training for 7 weeks – 5% per week</a:t>
          </a:r>
        </a:p>
      </dsp:txBody>
      <dsp:txXfrm>
        <a:off x="1798117" y="2296300"/>
        <a:ext cx="1544782" cy="772391"/>
      </dsp:txXfrm>
    </dsp:sp>
    <dsp:sp modelId="{D0EF95F5-A4C2-4B08-B8CC-039C9BF43E9C}">
      <dsp:nvSpPr>
        <dsp:cNvPr id="0" name=""/>
        <dsp:cNvSpPr/>
      </dsp:nvSpPr>
      <dsp:spPr>
        <a:xfrm>
          <a:off x="1798117" y="3393096"/>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ep dive for 2 weeks</a:t>
          </a:r>
        </a:p>
      </dsp:txBody>
      <dsp:txXfrm>
        <a:off x="1798117" y="3393096"/>
        <a:ext cx="1544782" cy="772391"/>
      </dsp:txXfrm>
    </dsp:sp>
    <dsp:sp modelId="{FEC0462F-294F-41FF-A5B3-B6EF94164A27}">
      <dsp:nvSpPr>
        <dsp:cNvPr id="0" name=""/>
        <dsp:cNvSpPr/>
      </dsp:nvSpPr>
      <dsp:spPr>
        <a:xfrm>
          <a:off x="3281108" y="1096907"/>
          <a:ext cx="1544782" cy="84594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velopment at scale – 50%</a:t>
          </a:r>
        </a:p>
      </dsp:txBody>
      <dsp:txXfrm>
        <a:off x="3281108" y="1096907"/>
        <a:ext cx="1544782" cy="845946"/>
      </dsp:txXfrm>
    </dsp:sp>
    <dsp:sp modelId="{4FCEF338-B2C2-4936-863A-C1EB4EAC4341}">
      <dsp:nvSpPr>
        <dsp:cNvPr id="0" name=""/>
        <dsp:cNvSpPr/>
      </dsp:nvSpPr>
      <dsp:spPr>
        <a:xfrm>
          <a:off x="3667304" y="2267258"/>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ndividual project – 20%</a:t>
          </a:r>
        </a:p>
      </dsp:txBody>
      <dsp:txXfrm>
        <a:off x="3667304" y="2267258"/>
        <a:ext cx="1544782" cy="772391"/>
      </dsp:txXfrm>
    </dsp:sp>
    <dsp:sp modelId="{784E381A-9E72-452A-B5C3-879F5230A0C3}">
      <dsp:nvSpPr>
        <dsp:cNvPr id="0" name=""/>
        <dsp:cNvSpPr/>
      </dsp:nvSpPr>
      <dsp:spPr>
        <a:xfrm>
          <a:off x="3667304" y="3364054"/>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eam based development – 30%</a:t>
          </a:r>
        </a:p>
      </dsp:txBody>
      <dsp:txXfrm>
        <a:off x="3667304" y="3364054"/>
        <a:ext cx="1544782" cy="772391"/>
      </dsp:txXfrm>
    </dsp:sp>
    <dsp:sp modelId="{C4E8F6B8-A613-4C90-A3FB-F00BEA541724}">
      <dsp:nvSpPr>
        <dsp:cNvPr id="0" name=""/>
        <dsp:cNvSpPr/>
      </dsp:nvSpPr>
      <dsp:spPr>
        <a:xfrm>
          <a:off x="5150296" y="1096907"/>
          <a:ext cx="1544782" cy="82069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Breadth of knowledge – 15%</a:t>
          </a:r>
        </a:p>
      </dsp:txBody>
      <dsp:txXfrm>
        <a:off x="5150296" y="1096907"/>
        <a:ext cx="1544782" cy="820696"/>
      </dsp:txXfrm>
    </dsp:sp>
    <dsp:sp modelId="{ACA18474-22F6-4498-A5B0-5C8342E63124}">
      <dsp:nvSpPr>
        <dsp:cNvPr id="0" name=""/>
        <dsp:cNvSpPr/>
      </dsp:nvSpPr>
      <dsp:spPr>
        <a:xfrm>
          <a:off x="5536491" y="2242009"/>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Weekly team presentation of a topic 2.5%</a:t>
          </a:r>
        </a:p>
      </dsp:txBody>
      <dsp:txXfrm>
        <a:off x="5536491" y="2242009"/>
        <a:ext cx="1544782" cy="7723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488EE8-569A-4C76-884A-3BEF209DC5C6}">
      <dsp:nvSpPr>
        <dsp:cNvPr id="0" name=""/>
        <dsp:cNvSpPr/>
      </dsp:nvSpPr>
      <dsp:spPr>
        <a:xfrm>
          <a:off x="2947" y="99853"/>
          <a:ext cx="798038" cy="680826"/>
        </a:xfrm>
        <a:prstGeom prst="roundRect">
          <a:avLst>
            <a:gd name="adj" fmla="val 10000"/>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1</a:t>
          </a:r>
        </a:p>
      </dsp:txBody>
      <dsp:txXfrm>
        <a:off x="22888" y="119794"/>
        <a:ext cx="758156" cy="640944"/>
      </dsp:txXfrm>
    </dsp:sp>
    <dsp:sp modelId="{B220EE54-11FE-4127-9F4F-6C1AEFB24312}">
      <dsp:nvSpPr>
        <dsp:cNvPr id="0" name=""/>
        <dsp:cNvSpPr/>
      </dsp:nvSpPr>
      <dsp:spPr>
        <a:xfrm>
          <a:off x="880790" y="341310"/>
          <a:ext cx="169184" cy="197913"/>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880790" y="380893"/>
        <a:ext cx="118429" cy="118747"/>
      </dsp:txXfrm>
    </dsp:sp>
    <dsp:sp modelId="{17F90E85-86AA-42B5-B464-81D75CF402C3}">
      <dsp:nvSpPr>
        <dsp:cNvPr id="0" name=""/>
        <dsp:cNvSpPr/>
      </dsp:nvSpPr>
      <dsp:spPr>
        <a:xfrm>
          <a:off x="1120201" y="99853"/>
          <a:ext cx="798038" cy="680826"/>
        </a:xfrm>
        <a:prstGeom prst="roundRect">
          <a:avLst>
            <a:gd name="adj" fmla="val 10000"/>
          </a:avLst>
        </a:prstGeom>
        <a:solidFill>
          <a:schemeClr val="accent5">
            <a:shade val="80000"/>
            <a:hueOff val="49898"/>
            <a:satOff val="-894"/>
            <a:lumOff val="3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2</a:t>
          </a:r>
        </a:p>
      </dsp:txBody>
      <dsp:txXfrm>
        <a:off x="1140142" y="119794"/>
        <a:ext cx="758156" cy="640944"/>
      </dsp:txXfrm>
    </dsp:sp>
    <dsp:sp modelId="{841D4F21-AF87-4EF6-BAD8-6BCDAD5E9FEB}">
      <dsp:nvSpPr>
        <dsp:cNvPr id="0" name=""/>
        <dsp:cNvSpPr/>
      </dsp:nvSpPr>
      <dsp:spPr>
        <a:xfrm>
          <a:off x="1998044" y="341310"/>
          <a:ext cx="169184" cy="197913"/>
        </a:xfrm>
        <a:prstGeom prst="rightArrow">
          <a:avLst>
            <a:gd name="adj1" fmla="val 60000"/>
            <a:gd name="adj2" fmla="val 50000"/>
          </a:avLst>
        </a:prstGeom>
        <a:solidFill>
          <a:schemeClr val="accent5">
            <a:shade val="90000"/>
            <a:hueOff val="58204"/>
            <a:satOff val="-997"/>
            <a:lumOff val="399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998044" y="380893"/>
        <a:ext cx="118429" cy="118747"/>
      </dsp:txXfrm>
    </dsp:sp>
    <dsp:sp modelId="{0021B693-EF35-400E-822D-6F05DC7C5E13}">
      <dsp:nvSpPr>
        <dsp:cNvPr id="0" name=""/>
        <dsp:cNvSpPr/>
      </dsp:nvSpPr>
      <dsp:spPr>
        <a:xfrm>
          <a:off x="2237455" y="99853"/>
          <a:ext cx="798038" cy="680826"/>
        </a:xfrm>
        <a:prstGeom prst="roundRect">
          <a:avLst>
            <a:gd name="adj" fmla="val 10000"/>
          </a:avLst>
        </a:prstGeom>
        <a:solidFill>
          <a:schemeClr val="accent5">
            <a:shade val="80000"/>
            <a:hueOff val="99795"/>
            <a:satOff val="-1787"/>
            <a:lumOff val="75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3</a:t>
          </a:r>
        </a:p>
      </dsp:txBody>
      <dsp:txXfrm>
        <a:off x="2257396" y="119794"/>
        <a:ext cx="758156" cy="640944"/>
      </dsp:txXfrm>
    </dsp:sp>
    <dsp:sp modelId="{279D3A8D-719E-4E61-B605-4D5D4D7024EB}">
      <dsp:nvSpPr>
        <dsp:cNvPr id="0" name=""/>
        <dsp:cNvSpPr/>
      </dsp:nvSpPr>
      <dsp:spPr>
        <a:xfrm>
          <a:off x="3115298" y="341310"/>
          <a:ext cx="169184" cy="197913"/>
        </a:xfrm>
        <a:prstGeom prst="rightArrow">
          <a:avLst>
            <a:gd name="adj1" fmla="val 60000"/>
            <a:gd name="adj2" fmla="val 50000"/>
          </a:avLst>
        </a:prstGeom>
        <a:solidFill>
          <a:schemeClr val="accent5">
            <a:shade val="90000"/>
            <a:hueOff val="116408"/>
            <a:satOff val="-1994"/>
            <a:lumOff val="798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3115298" y="380893"/>
        <a:ext cx="118429" cy="118747"/>
      </dsp:txXfrm>
    </dsp:sp>
    <dsp:sp modelId="{C0D650CB-F6B3-4DF3-8A7B-3FB2BFF58926}">
      <dsp:nvSpPr>
        <dsp:cNvPr id="0" name=""/>
        <dsp:cNvSpPr/>
      </dsp:nvSpPr>
      <dsp:spPr>
        <a:xfrm>
          <a:off x="3354709" y="99853"/>
          <a:ext cx="798038" cy="680826"/>
        </a:xfrm>
        <a:prstGeom prst="roundRect">
          <a:avLst>
            <a:gd name="adj" fmla="val 10000"/>
          </a:avLst>
        </a:prstGeom>
        <a:solidFill>
          <a:schemeClr val="accent5">
            <a:shade val="80000"/>
            <a:hueOff val="149693"/>
            <a:satOff val="-2681"/>
            <a:lumOff val="113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4</a:t>
          </a:r>
        </a:p>
      </dsp:txBody>
      <dsp:txXfrm>
        <a:off x="3374650" y="119794"/>
        <a:ext cx="758156" cy="640944"/>
      </dsp:txXfrm>
    </dsp:sp>
    <dsp:sp modelId="{3BB20A17-3641-49C2-8A38-7C39A1B585F7}">
      <dsp:nvSpPr>
        <dsp:cNvPr id="0" name=""/>
        <dsp:cNvSpPr/>
      </dsp:nvSpPr>
      <dsp:spPr>
        <a:xfrm>
          <a:off x="4232552" y="341310"/>
          <a:ext cx="169184" cy="197913"/>
        </a:xfrm>
        <a:prstGeom prst="rightArrow">
          <a:avLst>
            <a:gd name="adj1" fmla="val 60000"/>
            <a:gd name="adj2" fmla="val 50000"/>
          </a:avLst>
        </a:prstGeom>
        <a:solidFill>
          <a:schemeClr val="accent5">
            <a:shade val="90000"/>
            <a:hueOff val="174613"/>
            <a:satOff val="-2991"/>
            <a:lumOff val="1198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232552" y="380893"/>
        <a:ext cx="118429" cy="118747"/>
      </dsp:txXfrm>
    </dsp:sp>
    <dsp:sp modelId="{634E77B6-E459-4466-B275-6BBAAAA77A5A}">
      <dsp:nvSpPr>
        <dsp:cNvPr id="0" name=""/>
        <dsp:cNvSpPr/>
      </dsp:nvSpPr>
      <dsp:spPr>
        <a:xfrm>
          <a:off x="4471963" y="99853"/>
          <a:ext cx="798038" cy="680826"/>
        </a:xfrm>
        <a:prstGeom prst="roundRect">
          <a:avLst>
            <a:gd name="adj" fmla="val 10000"/>
          </a:avLst>
        </a:prstGeom>
        <a:solidFill>
          <a:schemeClr val="accent5">
            <a:shade val="80000"/>
            <a:hueOff val="199590"/>
            <a:satOff val="-3575"/>
            <a:lumOff val="151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5</a:t>
          </a:r>
        </a:p>
      </dsp:txBody>
      <dsp:txXfrm>
        <a:off x="4491904" y="119794"/>
        <a:ext cx="758156" cy="640944"/>
      </dsp:txXfrm>
    </dsp:sp>
    <dsp:sp modelId="{4570E52D-0AC4-45F6-9E45-9FAA1DF0E16B}">
      <dsp:nvSpPr>
        <dsp:cNvPr id="0" name=""/>
        <dsp:cNvSpPr/>
      </dsp:nvSpPr>
      <dsp:spPr>
        <a:xfrm>
          <a:off x="5349806" y="341310"/>
          <a:ext cx="169184" cy="197913"/>
        </a:xfrm>
        <a:prstGeom prst="rightArrow">
          <a:avLst>
            <a:gd name="adj1" fmla="val 60000"/>
            <a:gd name="adj2" fmla="val 50000"/>
          </a:avLst>
        </a:prstGeom>
        <a:solidFill>
          <a:schemeClr val="accent5">
            <a:shade val="90000"/>
            <a:hueOff val="232817"/>
            <a:satOff val="-3987"/>
            <a:lumOff val="1597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349806" y="380893"/>
        <a:ext cx="118429" cy="118747"/>
      </dsp:txXfrm>
    </dsp:sp>
    <dsp:sp modelId="{1D2D1D5C-5915-4CF5-A2B6-C2F9DA1B3751}">
      <dsp:nvSpPr>
        <dsp:cNvPr id="0" name=""/>
        <dsp:cNvSpPr/>
      </dsp:nvSpPr>
      <dsp:spPr>
        <a:xfrm>
          <a:off x="5589217" y="99853"/>
          <a:ext cx="798038" cy="680826"/>
        </a:xfrm>
        <a:prstGeom prst="roundRect">
          <a:avLst>
            <a:gd name="adj" fmla="val 10000"/>
          </a:avLst>
        </a:prstGeom>
        <a:solidFill>
          <a:schemeClr val="accent5">
            <a:shade val="80000"/>
            <a:hueOff val="249488"/>
            <a:satOff val="-4469"/>
            <a:lumOff val="189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6</a:t>
          </a:r>
        </a:p>
      </dsp:txBody>
      <dsp:txXfrm>
        <a:off x="5609158" y="119794"/>
        <a:ext cx="758156" cy="640944"/>
      </dsp:txXfrm>
    </dsp:sp>
    <dsp:sp modelId="{BFA41252-12A5-4C1B-9C35-6DF5AB57BEBA}">
      <dsp:nvSpPr>
        <dsp:cNvPr id="0" name=""/>
        <dsp:cNvSpPr/>
      </dsp:nvSpPr>
      <dsp:spPr>
        <a:xfrm>
          <a:off x="6467060" y="341310"/>
          <a:ext cx="169184" cy="197913"/>
        </a:xfrm>
        <a:prstGeom prst="rightArrow">
          <a:avLst>
            <a:gd name="adj1" fmla="val 60000"/>
            <a:gd name="adj2" fmla="val 50000"/>
          </a:avLst>
        </a:prstGeom>
        <a:solidFill>
          <a:schemeClr val="accent5">
            <a:shade val="90000"/>
            <a:hueOff val="291021"/>
            <a:satOff val="-4984"/>
            <a:lumOff val="1996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6467060" y="380893"/>
        <a:ext cx="118429" cy="118747"/>
      </dsp:txXfrm>
    </dsp:sp>
    <dsp:sp modelId="{C1C6C1AE-CB13-4710-BECF-220B5837B820}">
      <dsp:nvSpPr>
        <dsp:cNvPr id="0" name=""/>
        <dsp:cNvSpPr/>
      </dsp:nvSpPr>
      <dsp:spPr>
        <a:xfrm>
          <a:off x="6706471" y="99853"/>
          <a:ext cx="798038" cy="680826"/>
        </a:xfrm>
        <a:prstGeom prst="roundRect">
          <a:avLst>
            <a:gd name="adj" fmla="val 10000"/>
          </a:avLst>
        </a:prstGeom>
        <a:solidFill>
          <a:schemeClr val="accent5">
            <a:shade val="80000"/>
            <a:hueOff val="299385"/>
            <a:satOff val="-5362"/>
            <a:lumOff val="227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7</a:t>
          </a:r>
        </a:p>
      </dsp:txBody>
      <dsp:txXfrm>
        <a:off x="6726412" y="119794"/>
        <a:ext cx="758156" cy="640944"/>
      </dsp:txXfrm>
    </dsp:sp>
    <dsp:sp modelId="{CECB42B2-F674-4A1B-81A7-39888C0EACB9}">
      <dsp:nvSpPr>
        <dsp:cNvPr id="0" name=""/>
        <dsp:cNvSpPr/>
      </dsp:nvSpPr>
      <dsp:spPr>
        <a:xfrm>
          <a:off x="7584314" y="341310"/>
          <a:ext cx="169184" cy="197913"/>
        </a:xfrm>
        <a:prstGeom prst="rightArrow">
          <a:avLst>
            <a:gd name="adj1" fmla="val 60000"/>
            <a:gd name="adj2" fmla="val 50000"/>
          </a:avLst>
        </a:prstGeom>
        <a:solidFill>
          <a:schemeClr val="accent5">
            <a:shade val="90000"/>
            <a:hueOff val="349225"/>
            <a:satOff val="-5981"/>
            <a:lumOff val="239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584314" y="380893"/>
        <a:ext cx="118429" cy="118747"/>
      </dsp:txXfrm>
    </dsp:sp>
    <dsp:sp modelId="{5604EB01-0E23-49C1-B8C1-FB032C568EC2}">
      <dsp:nvSpPr>
        <dsp:cNvPr id="0" name=""/>
        <dsp:cNvSpPr/>
      </dsp:nvSpPr>
      <dsp:spPr>
        <a:xfrm>
          <a:off x="7823725" y="99853"/>
          <a:ext cx="798038" cy="680826"/>
        </a:xfrm>
        <a:prstGeom prst="roundRect">
          <a:avLst>
            <a:gd name="adj" fmla="val 10000"/>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8, 9</a:t>
          </a:r>
        </a:p>
      </dsp:txBody>
      <dsp:txXfrm>
        <a:off x="7843666" y="119794"/>
        <a:ext cx="758156" cy="6409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081869"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46558" y="193600"/>
          <a:ext cx="265751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Individual Project</a:t>
          </a:r>
        </a:p>
      </dsp:txBody>
      <dsp:txXfrm>
        <a:off x="246558" y="193600"/>
        <a:ext cx="2657510" cy="324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335874"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69914" y="190777"/>
          <a:ext cx="288957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Team Project</a:t>
          </a:r>
        </a:p>
      </dsp:txBody>
      <dsp:txXfrm>
        <a:off x="269914" y="190777"/>
        <a:ext cx="2889570" cy="324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518257"/>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Exercises </a:t>
          </a:r>
        </a:p>
      </dsp:txBody>
      <dsp:txXfrm>
        <a:off x="25299" y="25299"/>
        <a:ext cx="8102802" cy="467659"/>
      </dsp:txXfrm>
    </dsp:sp>
    <dsp:sp modelId="{AA89B326-56FA-412B-A913-C6B0240A88D6}">
      <dsp:nvSpPr>
        <dsp:cNvPr id="0" name=""/>
        <dsp:cNvSpPr/>
      </dsp:nvSpPr>
      <dsp:spPr>
        <a:xfrm>
          <a:off x="0" y="320904"/>
          <a:ext cx="8153400" cy="2438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Extend the Employee information [CRUD based] and add persistence</a:t>
          </a:r>
        </a:p>
        <a:p>
          <a:pPr marL="114300" lvl="1" indent="-114300" algn="l" defTabSz="666750">
            <a:lnSpc>
              <a:spcPct val="90000"/>
            </a:lnSpc>
            <a:spcBef>
              <a:spcPct val="0"/>
            </a:spcBef>
            <a:spcAft>
              <a:spcPct val="20000"/>
            </a:spcAft>
            <a:buChar char="•"/>
          </a:pPr>
          <a:r>
            <a:rPr lang="en-US" sz="1500" kern="1200"/>
            <a:t>Add capability to search for a particular employee</a:t>
          </a:r>
        </a:p>
        <a:p>
          <a:pPr marL="114300" lvl="1" indent="-114300" algn="l" defTabSz="666750">
            <a:lnSpc>
              <a:spcPct val="90000"/>
            </a:lnSpc>
            <a:spcBef>
              <a:spcPct val="0"/>
            </a:spcBef>
            <a:spcAft>
              <a:spcPct val="20000"/>
            </a:spcAft>
            <a:buChar char="•"/>
          </a:pPr>
          <a:r>
            <a:rPr lang="en-US" sz="1500" kern="1200"/>
            <a:t>Enhance the Employee information application to maintain monthly pay slips for each employee</a:t>
          </a:r>
        </a:p>
        <a:p>
          <a:pPr marL="114300" lvl="1" indent="-114300" algn="l" defTabSz="666750">
            <a:lnSpc>
              <a:spcPct val="90000"/>
            </a:lnSpc>
            <a:spcBef>
              <a:spcPct val="0"/>
            </a:spcBef>
            <a:spcAft>
              <a:spcPct val="20000"/>
            </a:spcAft>
            <a:buChar char="•"/>
          </a:pPr>
          <a:r>
            <a:rPr lang="en-US" sz="1500" kern="1200"/>
            <a:t>Implement the Employee information application  to track all projects [assume employees to be working on multiple projects simultaneously]  each employee is working on</a:t>
          </a:r>
        </a:p>
        <a:p>
          <a:pPr marL="114300" lvl="1" indent="-114300" algn="l" defTabSz="666750">
            <a:lnSpc>
              <a:spcPct val="90000"/>
            </a:lnSpc>
            <a:spcBef>
              <a:spcPct val="0"/>
            </a:spcBef>
            <a:spcAft>
              <a:spcPct val="20000"/>
            </a:spcAft>
            <a:buChar char="•"/>
          </a:pPr>
          <a:r>
            <a:rPr lang="en-US" sz="1500" kern="1200" dirty="0"/>
            <a:t>Add capability to search for all projects an employee is working on or list all employees working in a particular project</a:t>
          </a:r>
        </a:p>
        <a:p>
          <a:pPr marL="114300" lvl="1" indent="-114300" algn="l" defTabSz="666750">
            <a:lnSpc>
              <a:spcPct val="90000"/>
            </a:lnSpc>
            <a:spcBef>
              <a:spcPct val="0"/>
            </a:spcBef>
            <a:spcAft>
              <a:spcPct val="20000"/>
            </a:spcAft>
            <a:buChar char="•"/>
          </a:pPr>
          <a:r>
            <a:rPr lang="en-US" sz="1500" kern="1200"/>
            <a:t>Convert the log messages to go into a file instead of the console.</a:t>
          </a:r>
        </a:p>
        <a:p>
          <a:pPr marL="114300" lvl="1" indent="-114300" algn="l" defTabSz="666750">
            <a:lnSpc>
              <a:spcPct val="90000"/>
            </a:lnSpc>
            <a:spcBef>
              <a:spcPct val="0"/>
            </a:spcBef>
            <a:spcAft>
              <a:spcPct val="20000"/>
            </a:spcAft>
            <a:buChar char="•"/>
          </a:pPr>
          <a:r>
            <a:rPr lang="en-US" sz="1500" kern="1200"/>
            <a:t>If the number of employees is too large to bring all records into memory for processing, how will manage the CRUD operation in this scenario?</a:t>
          </a:r>
        </a:p>
      </dsp:txBody>
      <dsp:txXfrm>
        <a:off x="0" y="320904"/>
        <a:ext cx="8153400" cy="2438460"/>
      </dsp:txXfrm>
    </dsp:sp>
    <dsp:sp modelId="{46D43071-C761-47B9-B977-3C1563DACDB5}">
      <dsp:nvSpPr>
        <dsp:cNvPr id="0" name=""/>
        <dsp:cNvSpPr/>
      </dsp:nvSpPr>
      <dsp:spPr>
        <a:xfrm>
          <a:off x="0" y="2755486"/>
          <a:ext cx="8153400" cy="105384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sz="1900" kern="1200" dirty="0"/>
            <a:t>.</a:t>
          </a:r>
        </a:p>
      </dsp:txBody>
      <dsp:txXfrm>
        <a:off x="51444" y="2806930"/>
        <a:ext cx="8050512" cy="95095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463704"/>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Exercises </a:t>
          </a:r>
        </a:p>
      </dsp:txBody>
      <dsp:txXfrm>
        <a:off x="22636" y="22636"/>
        <a:ext cx="8108128" cy="418432"/>
      </dsp:txXfrm>
    </dsp:sp>
    <dsp:sp modelId="{AA89B326-56FA-412B-A913-C6B0240A88D6}">
      <dsp:nvSpPr>
        <dsp:cNvPr id="0" name=""/>
        <dsp:cNvSpPr/>
      </dsp:nvSpPr>
      <dsp:spPr>
        <a:xfrm>
          <a:off x="0" y="281112"/>
          <a:ext cx="8153400" cy="2819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1590" rIns="120904" bIns="21590" numCol="1" spcCol="1270" anchor="t" anchorCtr="0">
          <a:noAutofit/>
        </a:bodyPr>
        <a:lstStyle/>
        <a:p>
          <a:pPr marL="114300" lvl="1" indent="-114300" algn="l" defTabSz="577850">
            <a:lnSpc>
              <a:spcPct val="90000"/>
            </a:lnSpc>
            <a:spcBef>
              <a:spcPct val="0"/>
            </a:spcBef>
            <a:spcAft>
              <a:spcPct val="20000"/>
            </a:spcAft>
            <a:buChar char="•"/>
          </a:pPr>
          <a:endParaRPr lang="en-US" sz="1300" kern="1200" dirty="0"/>
        </a:p>
        <a:p>
          <a:pPr marL="114300" lvl="1" indent="-114300" algn="l" defTabSz="577850">
            <a:lnSpc>
              <a:spcPct val="90000"/>
            </a:lnSpc>
            <a:spcBef>
              <a:spcPct val="0"/>
            </a:spcBef>
            <a:spcAft>
              <a:spcPct val="20000"/>
            </a:spcAft>
            <a:buChar char="•"/>
          </a:pPr>
          <a:r>
            <a:rPr lang="en-US" sz="1300" kern="1200" dirty="0"/>
            <a:t>Add capability to search for a particular employee using a Hash table </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1"/>
            </a:rPr>
            <a:t>https://medium.freecodecamp.org/how-to-implement-a-simple-hash-table-in-javascript-cb3b9c1f2997</a:t>
          </a:r>
          <a:endParaRPr lang="en-US" sz="1300" kern="1200" dirty="0"/>
        </a:p>
        <a:p>
          <a:pPr marL="228600" lvl="2" indent="-114300" algn="l" defTabSz="577850">
            <a:lnSpc>
              <a:spcPct val="90000"/>
            </a:lnSpc>
            <a:spcBef>
              <a:spcPct val="0"/>
            </a:spcBef>
            <a:spcAft>
              <a:spcPct val="20000"/>
            </a:spcAft>
            <a:buChar char="•"/>
          </a:pPr>
          <a:r>
            <a:rPr lang="en-US" sz="1300" kern="1200" dirty="0"/>
            <a:t>Read the difference between Object, map, </a:t>
          </a:r>
          <a:r>
            <a:rPr lang="en-US" sz="1300" kern="1200" dirty="0" err="1"/>
            <a:t>HashMap</a:t>
          </a:r>
          <a:r>
            <a:rPr lang="en-US" sz="1300" kern="1200" dirty="0"/>
            <a:t> in JavaScript</a:t>
          </a:r>
        </a:p>
        <a:p>
          <a:pPr marL="114300" lvl="1" indent="-114300" algn="l" defTabSz="577850">
            <a:lnSpc>
              <a:spcPct val="90000"/>
            </a:lnSpc>
            <a:spcBef>
              <a:spcPct val="0"/>
            </a:spcBef>
            <a:spcAft>
              <a:spcPct val="20000"/>
            </a:spcAft>
            <a:buChar char="•"/>
          </a:pPr>
          <a:r>
            <a:rPr lang="en-US" sz="1300" kern="1200" dirty="0"/>
            <a:t>Use a random access file to store employee information</a:t>
          </a:r>
        </a:p>
        <a:p>
          <a:pPr marL="114300" lvl="1" indent="-114300" algn="l" defTabSz="577850">
            <a:lnSpc>
              <a:spcPct val="90000"/>
            </a:lnSpc>
            <a:spcBef>
              <a:spcPct val="0"/>
            </a:spcBef>
            <a:spcAft>
              <a:spcPct val="20000"/>
            </a:spcAft>
            <a:buChar char="•"/>
          </a:pPr>
          <a:r>
            <a:rPr lang="en-US" sz="1300" kern="1200" dirty="0"/>
            <a:t>Add capability to search for a particular employee in the random access file using a simple index using an in=memory Hash table</a:t>
          </a:r>
        </a:p>
        <a:p>
          <a:pPr marL="114300" lvl="1" indent="-114300" algn="l" defTabSz="577850">
            <a:lnSpc>
              <a:spcPct val="90000"/>
            </a:lnSpc>
            <a:spcBef>
              <a:spcPct val="0"/>
            </a:spcBef>
            <a:spcAft>
              <a:spcPct val="20000"/>
            </a:spcAft>
            <a:buChar char="•"/>
          </a:pPr>
          <a:r>
            <a:rPr lang="en-US" sz="1300" kern="1200" dirty="0"/>
            <a:t>Read the differences between different database indexing mechanisms</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2"/>
            </a:rPr>
            <a:t>https://en.wikipedia.org/wiki/Database_index</a:t>
          </a:r>
          <a:endParaRPr lang="en-US" sz="1300" kern="1200" dirty="0"/>
        </a:p>
        <a:p>
          <a:pPr marL="114300" lvl="1" indent="-114300" algn="l" defTabSz="577850">
            <a:lnSpc>
              <a:spcPct val="90000"/>
            </a:lnSpc>
            <a:spcBef>
              <a:spcPct val="0"/>
            </a:spcBef>
            <a:spcAft>
              <a:spcPct val="20000"/>
            </a:spcAft>
            <a:buChar char="•"/>
          </a:pPr>
          <a:r>
            <a:rPr lang="en-US" sz="1300" kern="1200" dirty="0"/>
            <a:t>Implement Merge Sort and binary search for the employee records</a:t>
          </a:r>
        </a:p>
      </dsp:txBody>
      <dsp:txXfrm>
        <a:off x="0" y="281112"/>
        <a:ext cx="8153400" cy="2819536"/>
      </dsp:txXfrm>
    </dsp:sp>
    <dsp:sp modelId="{46D43071-C761-47B9-B977-3C1563DACDB5}">
      <dsp:nvSpPr>
        <dsp:cNvPr id="0" name=""/>
        <dsp:cNvSpPr/>
      </dsp:nvSpPr>
      <dsp:spPr>
        <a:xfrm>
          <a:off x="0" y="3097179"/>
          <a:ext cx="8153400" cy="94291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sz="1700" kern="1200" dirty="0"/>
            <a:t>.</a:t>
          </a:r>
        </a:p>
      </dsp:txBody>
      <dsp:txXfrm>
        <a:off x="46029" y="3143208"/>
        <a:ext cx="8061342" cy="8508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85AE93-5841-4327-96FF-35CEBD5111C7}" type="datetimeFigureOut">
              <a:rPr lang="en-US" smtClean="0"/>
              <a:t>6/20/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E22FD5-8D40-4CBE-8410-B2035D9E491F}" type="slidenum">
              <a:rPr lang="en-US" smtClean="0"/>
              <a:t>‹#›</a:t>
            </a:fld>
            <a:endParaRPr lang="en-US"/>
          </a:p>
        </p:txBody>
      </p:sp>
    </p:spTree>
    <p:extLst>
      <p:ext uri="{BB962C8B-B14F-4D97-AF65-F5344CB8AC3E}">
        <p14:creationId xmlns:p14="http://schemas.microsoft.com/office/powerpoint/2010/main" val="2705600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yriad Pro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yriad Pro Regular" charset="0"/>
              </a:defRPr>
            </a:lvl1pPr>
          </a:lstStyle>
          <a:p>
            <a:fld id="{16DE233D-E708-7C4E-8AA1-F5FD5AD83E74}" type="datetimeFigureOut">
              <a:rPr lang="en-US" smtClean="0"/>
              <a:pPr/>
              <a:t>6/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yriad Pro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yriad Pro Regular" charset="0"/>
              </a:defRPr>
            </a:lvl1pPr>
          </a:lstStyle>
          <a:p>
            <a:fld id="{89AB41BC-50FE-2648-A1A9-73E972326156}" type="slidenum">
              <a:rPr lang="en-US" smtClean="0"/>
              <a:pPr/>
              <a:t>‹#›</a:t>
            </a:fld>
            <a:endParaRPr lang="en-US" dirty="0"/>
          </a:p>
        </p:txBody>
      </p:sp>
    </p:spTree>
    <p:extLst>
      <p:ext uri="{BB962C8B-B14F-4D97-AF65-F5344CB8AC3E}">
        <p14:creationId xmlns:p14="http://schemas.microsoft.com/office/powerpoint/2010/main" val="673637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yriad Pro Regular" charset="0"/>
        <a:ea typeface="+mn-ea"/>
        <a:cs typeface="+mn-cs"/>
      </a:defRPr>
    </a:lvl1pPr>
    <a:lvl2pPr marL="457200" algn="l" defTabSz="914400" rtl="0" eaLnBrk="1" latinLnBrk="0" hangingPunct="1">
      <a:defRPr sz="1200" b="0" i="0" kern="1200">
        <a:solidFill>
          <a:schemeClr val="tx1"/>
        </a:solidFill>
        <a:latin typeface="Myriad Pro Regular" charset="0"/>
        <a:ea typeface="+mn-ea"/>
        <a:cs typeface="+mn-cs"/>
      </a:defRPr>
    </a:lvl2pPr>
    <a:lvl3pPr marL="914400" algn="l" defTabSz="914400" rtl="0" eaLnBrk="1" latinLnBrk="0" hangingPunct="1">
      <a:defRPr sz="1200" b="0" i="0" kern="1200">
        <a:solidFill>
          <a:schemeClr val="tx1"/>
        </a:solidFill>
        <a:latin typeface="Myriad Pro Regular" charset="0"/>
        <a:ea typeface="+mn-ea"/>
        <a:cs typeface="+mn-cs"/>
      </a:defRPr>
    </a:lvl3pPr>
    <a:lvl4pPr marL="1371600" algn="l" defTabSz="914400" rtl="0" eaLnBrk="1" latinLnBrk="0" hangingPunct="1">
      <a:defRPr sz="1200" b="0" i="0" kern="1200">
        <a:solidFill>
          <a:schemeClr val="tx1"/>
        </a:solidFill>
        <a:latin typeface="Myriad Pro Regular" charset="0"/>
        <a:ea typeface="+mn-ea"/>
        <a:cs typeface="+mn-cs"/>
      </a:defRPr>
    </a:lvl4pPr>
    <a:lvl5pPr marL="1828800" algn="l" defTabSz="914400" rtl="0" eaLnBrk="1" latinLnBrk="0" hangingPunct="1">
      <a:defRPr sz="1200" b="0" i="0" kern="1200">
        <a:solidFill>
          <a:schemeClr val="tx1"/>
        </a:solidFill>
        <a:latin typeface="Myriad Pro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76BC6D-5078-934C-B6A7-E2C1574B56B3}" type="slidenum">
              <a:rPr lang="en-US" smtClean="0"/>
              <a:t>1</a:t>
            </a:fld>
            <a:endParaRPr lang="en-US"/>
          </a:p>
        </p:txBody>
      </p:sp>
    </p:spTree>
    <p:extLst>
      <p:ext uri="{BB962C8B-B14F-4D97-AF65-F5344CB8AC3E}">
        <p14:creationId xmlns:p14="http://schemas.microsoft.com/office/powerpoint/2010/main" val="1649252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2894">
              <a:defRPr/>
            </a:pPr>
            <a:fld id="{E13E07A1-2926-49B1-9231-67F85B6D590A}" type="slidenum">
              <a:rPr lang="en-US" smtClean="0">
                <a:solidFill>
                  <a:prstClr val="black"/>
                </a:solidFill>
                <a:latin typeface="Calibri"/>
              </a:rPr>
              <a:pPr defTabSz="892894">
                <a:defRPr/>
              </a:pPr>
              <a:t>6</a:t>
            </a:fld>
            <a:endParaRPr lang="en-US">
              <a:solidFill>
                <a:prstClr val="black"/>
              </a:solidFill>
              <a:latin typeface="Calibri"/>
            </a:endParaRPr>
          </a:p>
        </p:txBody>
      </p:sp>
    </p:spTree>
    <p:extLst>
      <p:ext uri="{BB962C8B-B14F-4D97-AF65-F5344CB8AC3E}">
        <p14:creationId xmlns:p14="http://schemas.microsoft.com/office/powerpoint/2010/main" val="2561660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90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Title 3"/>
          <p:cNvSpPr>
            <a:spLocks noGrp="1"/>
          </p:cNvSpPr>
          <p:nvPr>
            <p:ph type="title"/>
          </p:nvPr>
        </p:nvSpPr>
        <p:spPr>
          <a:xfrm>
            <a:off x="476252" y="83774"/>
            <a:ext cx="8378188" cy="307777"/>
          </a:xfrm>
          <a:prstGeom prst="rect">
            <a:avLst/>
          </a:prstGeom>
        </p:spPr>
        <p:txBody>
          <a:bodyPr wrap="square" lIns="0" tIns="0" rIns="0" bIns="0" anchor="ctr" anchorCtr="0">
            <a:spAutoFit/>
          </a:bodyPr>
          <a:lstStyle>
            <a:lvl1pPr>
              <a:lnSpc>
                <a:spcPct val="100000"/>
              </a:lnSpc>
              <a:defRPr sz="2000">
                <a:latin typeface="Franklin Gothic Demi Cond" panose="020B0706030402020204" pitchFamily="34" charset="0"/>
              </a:defRPr>
            </a:lvl1pPr>
          </a:lstStyle>
          <a:p>
            <a:endParaRPr lang="en-US" dirty="0"/>
          </a:p>
        </p:txBody>
      </p:sp>
    </p:spTree>
    <p:extLst>
      <p:ext uri="{BB962C8B-B14F-4D97-AF65-F5344CB8AC3E}">
        <p14:creationId xmlns:p14="http://schemas.microsoft.com/office/powerpoint/2010/main" val="1438515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A1C8F-8F7D-412F-8501-1A68A8514B6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67"/>
          <a:stretch/>
        </p:blipFill>
        <p:spPr>
          <a:xfrm>
            <a:off x="0" y="0"/>
            <a:ext cx="9144000" cy="5143500"/>
          </a:xfrm>
          <a:prstGeom prst="rect">
            <a:avLst/>
          </a:prstGeom>
        </p:spPr>
      </p:pic>
    </p:spTree>
    <p:extLst>
      <p:ext uri="{BB962C8B-B14F-4D97-AF65-F5344CB8AC3E}">
        <p14:creationId xmlns:p14="http://schemas.microsoft.com/office/powerpoint/2010/main" val="1077175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tory Telling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531C3C6-6438-47DD-8AE9-861B219C055E}"/>
              </a:ext>
            </a:extLst>
          </p:cNvPr>
          <p:cNvSpPr/>
          <p:nvPr userDrawn="1"/>
        </p:nvSpPr>
        <p:spPr>
          <a:xfrm>
            <a:off x="7257" y="0"/>
            <a:ext cx="9136743"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a:extLst>
              <a:ext uri="{FF2B5EF4-FFF2-40B4-BE49-F238E27FC236}">
                <a16:creationId xmlns:a16="http://schemas.microsoft.com/office/drawing/2014/main" id="{A711C1B1-EBFA-46BC-9072-20C9488E2C6E}"/>
              </a:ext>
            </a:extLst>
          </p:cNvPr>
          <p:cNvPicPr>
            <a:picLocks noChangeAspect="1"/>
          </p:cNvPicPr>
          <p:nvPr userDrawn="1"/>
        </p:nvPicPr>
        <p:blipFill rotWithShape="1">
          <a:blip r:embed="rId2"/>
          <a:srcRect t="7834" b="7834"/>
          <a:stretch/>
        </p:blipFill>
        <p:spPr>
          <a:xfrm>
            <a:off x="0" y="0"/>
            <a:ext cx="9144000" cy="5143500"/>
          </a:xfrm>
          <a:prstGeom prst="rect">
            <a:avLst/>
          </a:prstGeom>
        </p:spPr>
      </p:pic>
      <p:sp>
        <p:nvSpPr>
          <p:cNvPr id="10" name="Rectangle 9">
            <a:extLst>
              <a:ext uri="{FF2B5EF4-FFF2-40B4-BE49-F238E27FC236}">
                <a16:creationId xmlns:a16="http://schemas.microsoft.com/office/drawing/2014/main" id="{18D0FDF7-C80D-4EC7-98A0-402C6034976A}"/>
              </a:ext>
            </a:extLst>
          </p:cNvPr>
          <p:cNvSpPr/>
          <p:nvPr userDrawn="1"/>
        </p:nvSpPr>
        <p:spPr>
          <a:xfrm>
            <a:off x="0" y="1648591"/>
            <a:ext cx="5491942" cy="1846318"/>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Tree>
    <p:extLst>
      <p:ext uri="{BB962C8B-B14F-4D97-AF65-F5344CB8AC3E}">
        <p14:creationId xmlns:p14="http://schemas.microsoft.com/office/powerpoint/2010/main" val="1459157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51CC6-D2FC-1D49-A069-ACBCC8E34A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C2F82B-2712-854C-9BE3-FFA4D943F3C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83636C-E397-8744-A142-E33E1F361388}"/>
              </a:ext>
            </a:extLst>
          </p:cNvPr>
          <p:cNvSpPr>
            <a:spLocks noGrp="1"/>
          </p:cNvSpPr>
          <p:nvPr>
            <p:ph type="dt" sz="half" idx="10"/>
          </p:nvPr>
        </p:nvSpPr>
        <p:spPr/>
        <p:txBody>
          <a:bodyPr/>
          <a:lstStyle/>
          <a:p>
            <a:fld id="{133E3F99-22B8-6641-A40B-BDD0EB02B992}" type="datetimeFigureOut">
              <a:rPr lang="en-US" smtClean="0"/>
              <a:t>6/20/2022</a:t>
            </a:fld>
            <a:endParaRPr lang="en-US"/>
          </a:p>
        </p:txBody>
      </p:sp>
      <p:sp>
        <p:nvSpPr>
          <p:cNvPr id="5" name="Footer Placeholder 4">
            <a:extLst>
              <a:ext uri="{FF2B5EF4-FFF2-40B4-BE49-F238E27FC236}">
                <a16:creationId xmlns:a16="http://schemas.microsoft.com/office/drawing/2014/main" id="{AE1886E5-4C2B-A949-A214-9EFF0AA06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4AEDCD-24D4-3442-A8DA-CA2F5854C3D9}"/>
              </a:ext>
            </a:extLst>
          </p:cNvPr>
          <p:cNvSpPr>
            <a:spLocks noGrp="1"/>
          </p:cNvSpPr>
          <p:nvPr>
            <p:ph type="sldNum" sz="quarter" idx="12"/>
          </p:nvPr>
        </p:nvSpPr>
        <p:spPr/>
        <p:txBody>
          <a:bodyPr/>
          <a:lstStyle/>
          <a:p>
            <a:fld id="{983F85AF-F7A8-9040-B7F7-989978671B03}" type="slidenum">
              <a:rPr lang="en-US" smtClean="0"/>
              <a:t>‹#›</a:t>
            </a:fld>
            <a:endParaRPr lang="en-US"/>
          </a:p>
        </p:txBody>
      </p:sp>
    </p:spTree>
    <p:extLst>
      <p:ext uri="{BB962C8B-B14F-4D97-AF65-F5344CB8AC3E}">
        <p14:creationId xmlns:p14="http://schemas.microsoft.com/office/powerpoint/2010/main" val="40574811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06006" y="4787238"/>
            <a:ext cx="4572000" cy="246221"/>
          </a:xfrm>
          <a:prstGeom prst="rect">
            <a:avLst/>
          </a:prstGeom>
        </p:spPr>
        <p:txBody>
          <a:bodyPr>
            <a:spAutoFit/>
          </a:bodyPr>
          <a:lstStyle/>
          <a:p>
            <a:r>
              <a:rPr lang="en-US" sz="1000" dirty="0">
                <a:solidFill>
                  <a:schemeClr val="tx1">
                    <a:lumMod val="50000"/>
                    <a:lumOff val="50000"/>
                  </a:schemeClr>
                </a:solidFill>
                <a:latin typeface="Franklin Gothic Book" panose="020B0503020102020204" pitchFamily="34" charset="0"/>
                <a:ea typeface="Myriad Pro Regular" charset="0"/>
                <a:cs typeface="Myriad Pro Regular" charset="0"/>
              </a:rPr>
              <a:t>Confidential and Proprietary. © 2019 UST Global Inc</a:t>
            </a:r>
          </a:p>
        </p:txBody>
      </p:sp>
      <p:sp>
        <p:nvSpPr>
          <p:cNvPr id="8" name="Rectangle 7"/>
          <p:cNvSpPr/>
          <p:nvPr userDrawn="1"/>
        </p:nvSpPr>
        <p:spPr>
          <a:xfrm>
            <a:off x="0" y="0"/>
            <a:ext cx="400050" cy="421931"/>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01C24"/>
                </a:solidFill>
              </a:rPr>
              <a:t> </a:t>
            </a:r>
          </a:p>
        </p:txBody>
      </p:sp>
      <p:sp>
        <p:nvSpPr>
          <p:cNvPr id="4" name="Slide Number Placeholder 10"/>
          <p:cNvSpPr txBox="1">
            <a:spLocks/>
          </p:cNvSpPr>
          <p:nvPr userDrawn="1"/>
        </p:nvSpPr>
        <p:spPr>
          <a:xfrm>
            <a:off x="8544559" y="4923230"/>
            <a:ext cx="482443" cy="169277"/>
          </a:xfrm>
          <a:prstGeom prst="rect">
            <a:avLst/>
          </a:prstGeom>
        </p:spPr>
        <p:txBody>
          <a:bodyPr vert="horz" wrap="square" lIns="0" tIns="0" rIns="0" bIns="0" rtlCol="0" anchor="ctr">
            <a:spAutoFit/>
          </a:bodyPr>
          <a:lstStyle>
            <a:defPPr>
              <a:defRPr lang="en-US"/>
            </a:defPPr>
            <a:lvl1pPr marL="0" algn="r" defTabSz="892894" rtl="0" eaLnBrk="1" latinLnBrk="0" hangingPunct="1">
              <a:defRPr sz="1000" kern="1200">
                <a:solidFill>
                  <a:schemeClr val="accent3"/>
                </a:solidFill>
                <a:latin typeface="Helvetica"/>
                <a:ea typeface="+mn-ea"/>
                <a:cs typeface="Helvetica"/>
              </a:defRPr>
            </a:lvl1pPr>
            <a:lvl2pPr marL="446447" algn="l" defTabSz="892894" rtl="0" eaLnBrk="1" latinLnBrk="0" hangingPunct="1">
              <a:defRPr sz="1700" kern="1200">
                <a:solidFill>
                  <a:schemeClr val="tx1"/>
                </a:solidFill>
                <a:latin typeface="+mn-lt"/>
                <a:ea typeface="+mn-ea"/>
                <a:cs typeface="+mn-cs"/>
              </a:defRPr>
            </a:lvl2pPr>
            <a:lvl3pPr marL="892894" algn="l" defTabSz="892894" rtl="0" eaLnBrk="1" latinLnBrk="0" hangingPunct="1">
              <a:defRPr sz="1700" kern="1200">
                <a:solidFill>
                  <a:schemeClr val="tx1"/>
                </a:solidFill>
                <a:latin typeface="+mn-lt"/>
                <a:ea typeface="+mn-ea"/>
                <a:cs typeface="+mn-cs"/>
              </a:defRPr>
            </a:lvl3pPr>
            <a:lvl4pPr marL="1339340" algn="l" defTabSz="892894" rtl="0" eaLnBrk="1" latinLnBrk="0" hangingPunct="1">
              <a:defRPr sz="1700" kern="1200">
                <a:solidFill>
                  <a:schemeClr val="tx1"/>
                </a:solidFill>
                <a:latin typeface="+mn-lt"/>
                <a:ea typeface="+mn-ea"/>
                <a:cs typeface="+mn-cs"/>
              </a:defRPr>
            </a:lvl4pPr>
            <a:lvl5pPr marL="1785787" algn="l" defTabSz="892894" rtl="0" eaLnBrk="1" latinLnBrk="0" hangingPunct="1">
              <a:defRPr sz="1700" kern="1200">
                <a:solidFill>
                  <a:schemeClr val="tx1"/>
                </a:solidFill>
                <a:latin typeface="+mn-lt"/>
                <a:ea typeface="+mn-ea"/>
                <a:cs typeface="+mn-cs"/>
              </a:defRPr>
            </a:lvl5pPr>
            <a:lvl6pPr marL="2232234" algn="l" defTabSz="892894" rtl="0" eaLnBrk="1" latinLnBrk="0" hangingPunct="1">
              <a:defRPr sz="1700" kern="1200">
                <a:solidFill>
                  <a:schemeClr val="tx1"/>
                </a:solidFill>
                <a:latin typeface="+mn-lt"/>
                <a:ea typeface="+mn-ea"/>
                <a:cs typeface="+mn-cs"/>
              </a:defRPr>
            </a:lvl6pPr>
            <a:lvl7pPr marL="2678681" algn="l" defTabSz="892894" rtl="0" eaLnBrk="1" latinLnBrk="0" hangingPunct="1">
              <a:defRPr sz="1700" kern="1200">
                <a:solidFill>
                  <a:schemeClr val="tx1"/>
                </a:solidFill>
                <a:latin typeface="+mn-lt"/>
                <a:ea typeface="+mn-ea"/>
                <a:cs typeface="+mn-cs"/>
              </a:defRPr>
            </a:lvl7pPr>
            <a:lvl8pPr marL="3125127" algn="l" defTabSz="892894" rtl="0" eaLnBrk="1" latinLnBrk="0" hangingPunct="1">
              <a:defRPr sz="1700" kern="1200">
                <a:solidFill>
                  <a:schemeClr val="tx1"/>
                </a:solidFill>
                <a:latin typeface="+mn-lt"/>
                <a:ea typeface="+mn-ea"/>
                <a:cs typeface="+mn-cs"/>
              </a:defRPr>
            </a:lvl8pPr>
            <a:lvl9pPr marL="3571574" algn="l" defTabSz="892894" rtl="0" eaLnBrk="1" latinLnBrk="0" hangingPunct="1">
              <a:defRPr sz="1700" kern="1200">
                <a:solidFill>
                  <a:schemeClr val="tx1"/>
                </a:solidFill>
                <a:latin typeface="+mn-lt"/>
                <a:ea typeface="+mn-ea"/>
                <a:cs typeface="+mn-cs"/>
              </a:defRPr>
            </a:lvl9pPr>
          </a:lstStyle>
          <a:p>
            <a:pPr algn="ctr"/>
            <a:r>
              <a:rPr lang="en-US" sz="1100" b="0" dirty="0">
                <a:solidFill>
                  <a:schemeClr val="tx1">
                    <a:lumMod val="60000"/>
                    <a:lumOff val="40000"/>
                  </a:schemeClr>
                </a:solidFill>
                <a:latin typeface="+mn-lt"/>
                <a:cs typeface="DokChampa" panose="020B0604020202020204" pitchFamily="34" charset="-34"/>
              </a:rPr>
              <a:t> </a:t>
            </a:r>
            <a:fld id="{110FD68B-4EE4-9D43-89F2-B87D6C9CEE3A}" type="slidenum">
              <a:rPr lang="en-US" sz="1050" b="0" smtClean="0">
                <a:solidFill>
                  <a:schemeClr val="tx1">
                    <a:lumMod val="60000"/>
                    <a:lumOff val="40000"/>
                  </a:schemeClr>
                </a:solidFill>
                <a:latin typeface="+mn-lt"/>
                <a:cs typeface="DokChampa" panose="020B0604020202020204" pitchFamily="34" charset="-34"/>
              </a:rPr>
              <a:pPr algn="ctr"/>
              <a:t>‹#›</a:t>
            </a:fld>
            <a:endParaRPr lang="en-US" sz="1100" b="0" dirty="0">
              <a:solidFill>
                <a:schemeClr val="tx1">
                  <a:lumMod val="60000"/>
                  <a:lumOff val="40000"/>
                </a:schemeClr>
              </a:solidFill>
              <a:latin typeface="+mn-lt"/>
              <a:cs typeface="DokChampa" panose="020B0604020202020204" pitchFamily="34" charset="-34"/>
            </a:endParaRPr>
          </a:p>
        </p:txBody>
      </p:sp>
    </p:spTree>
    <p:extLst>
      <p:ext uri="{BB962C8B-B14F-4D97-AF65-F5344CB8AC3E}">
        <p14:creationId xmlns:p14="http://schemas.microsoft.com/office/powerpoint/2010/main" val="575119451"/>
      </p:ext>
    </p:extLst>
  </p:cSld>
  <p:clrMap bg1="lt1" tx1="dk1" bg2="lt2" tx2="dk2" accent1="accent1" accent2="accent2" accent3="accent3" accent4="accent4" accent5="accent5" accent6="accent6" hlink="hlink" folHlink="folHlink"/>
  <p:sldLayoutIdLst>
    <p:sldLayoutId id="2147483744" r:id="rId1"/>
    <p:sldLayoutId id="2147483933" r:id="rId2"/>
    <p:sldLayoutId id="2147483940" r:id="rId3"/>
    <p:sldLayoutId id="2147483958" r:id="rId4"/>
    <p:sldLayoutId id="2147483959" r:id="rId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6.png"/><Relationship Id="rId3" Type="http://schemas.openxmlformats.org/officeDocument/2006/relationships/diagramLayout" Target="../diagrams/layout2.xml"/><Relationship Id="rId7" Type="http://schemas.openxmlformats.org/officeDocument/2006/relationships/image" Target="../media/image5.png"/><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diagramData" Target="../diagrams/data2.xml"/><Relationship Id="rId16"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diagramColors" Target="../diagrams/colors3.xml"/><Relationship Id="rId5" Type="http://schemas.openxmlformats.org/officeDocument/2006/relationships/diagramColors" Target="../diagrams/colors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image" Target="../media/image7.png"/><Relationship Id="rId4" Type="http://schemas.openxmlformats.org/officeDocument/2006/relationships/diagramQuickStyle" Target="../diagrams/quickStyle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3.xml"/><Relationship Id="rId7" Type="http://schemas.openxmlformats.org/officeDocument/2006/relationships/diagramData" Target="../diagrams/data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11" Type="http://schemas.microsoft.com/office/2007/relationships/diagramDrawing" Target="../diagrams/drawing5.xml"/><Relationship Id="rId5" Type="http://schemas.openxmlformats.org/officeDocument/2006/relationships/oleObject" Target="../embeddings/oleObject1.bin"/><Relationship Id="rId10" Type="http://schemas.openxmlformats.org/officeDocument/2006/relationships/diagramColors" Target="../diagrams/colors5.xml"/><Relationship Id="rId4" Type="http://schemas.openxmlformats.org/officeDocument/2006/relationships/slideLayout" Target="../slideLayouts/slideLayout2.xml"/><Relationship Id="rId9" Type="http://schemas.openxmlformats.org/officeDocument/2006/relationships/diagramQuickStyle" Target="../diagrams/quickStyle5.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5.xml"/><Relationship Id="rId7" Type="http://schemas.openxmlformats.org/officeDocument/2006/relationships/diagramData" Target="../diagrams/data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bin"/><Relationship Id="rId10" Type="http://schemas.openxmlformats.org/officeDocument/2006/relationships/diagramColors" Target="../diagrams/colors6.xml"/><Relationship Id="rId4" Type="http://schemas.openxmlformats.org/officeDocument/2006/relationships/slideLayout" Target="../slideLayouts/slideLayout2.xml"/><Relationship Id="rId9" Type="http://schemas.openxmlformats.org/officeDocument/2006/relationships/diagramQuickStyle" Target="../diagrams/quickStyle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C71D93-4ED9-6740-8232-CD32C820C645}"/>
              </a:ext>
            </a:extLst>
          </p:cNvPr>
          <p:cNvSpPr/>
          <p:nvPr/>
        </p:nvSpPr>
        <p:spPr>
          <a:xfrm>
            <a:off x="0" y="3749040"/>
            <a:ext cx="9144000" cy="1394460"/>
          </a:xfrm>
          <a:prstGeom prst="rect">
            <a:avLst/>
          </a:prstGeom>
          <a:solidFill>
            <a:srgbClr val="0079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68BF38B3-BDBA-B340-A6D3-53AABF43771B}"/>
              </a:ext>
            </a:extLst>
          </p:cNvPr>
          <p:cNvSpPr txBox="1">
            <a:spLocks/>
          </p:cNvSpPr>
          <p:nvPr/>
        </p:nvSpPr>
        <p:spPr>
          <a:xfrm>
            <a:off x="155644" y="3828360"/>
            <a:ext cx="8784076" cy="1173563"/>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50" b="1" dirty="0">
                <a:solidFill>
                  <a:schemeClr val="bg1"/>
                </a:solidFill>
              </a:rPr>
              <a:t>Freshers Training Plan – Services Team </a:t>
            </a:r>
            <a:endParaRPr lang="en-US" sz="2850" dirty="0">
              <a:solidFill>
                <a:schemeClr val="bg1"/>
              </a:solidFill>
            </a:endParaRPr>
          </a:p>
        </p:txBody>
      </p:sp>
      <p:sp>
        <p:nvSpPr>
          <p:cNvPr id="3" name="Rectangle 2">
            <a:extLst>
              <a:ext uri="{FF2B5EF4-FFF2-40B4-BE49-F238E27FC236}">
                <a16:creationId xmlns:a16="http://schemas.microsoft.com/office/drawing/2014/main" id="{EE645202-BE0E-A443-A376-51A84F854F87}"/>
              </a:ext>
            </a:extLst>
          </p:cNvPr>
          <p:cNvSpPr/>
          <p:nvPr/>
        </p:nvSpPr>
        <p:spPr>
          <a:xfrm>
            <a:off x="7572891" y="0"/>
            <a:ext cx="1571109" cy="818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6">
            <a:extLst>
              <a:ext uri="{FF2B5EF4-FFF2-40B4-BE49-F238E27FC236}">
                <a16:creationId xmlns:a16="http://schemas.microsoft.com/office/drawing/2014/main" id="{2C1C8D72-EFE2-E74F-AA9A-8030786C745D}"/>
              </a:ext>
            </a:extLst>
          </p:cNvPr>
          <p:cNvPicPr>
            <a:picLocks noChangeAspect="1"/>
          </p:cNvPicPr>
          <p:nvPr/>
        </p:nvPicPr>
        <p:blipFill>
          <a:blip r:embed="rId3" cstate="screen">
            <a:extLst>
              <a:ext uri="{28A0092B-C50C-407E-A947-70E740481C1C}">
                <a14:useLocalDpi xmlns:a14="http://schemas.microsoft.com/office/drawing/2010/main"/>
              </a:ext>
            </a:extLst>
          </a:blip>
          <a:srcRect t="9" b="9"/>
          <a:stretch>
            <a:fillRect/>
          </a:stretch>
        </p:blipFill>
        <p:spPr>
          <a:xfrm>
            <a:off x="7604821" y="74463"/>
            <a:ext cx="1539179" cy="680240"/>
          </a:xfrm>
          <a:prstGeom prst="rect">
            <a:avLst/>
          </a:prstGeom>
        </p:spPr>
      </p:pic>
      <p:pic>
        <p:nvPicPr>
          <p:cNvPr id="18" name="Picture 17"/>
          <p:cNvPicPr>
            <a:picLocks noChangeAspect="1"/>
          </p:cNvPicPr>
          <p:nvPr/>
        </p:nvPicPr>
        <p:blipFill>
          <a:blip r:embed="rId4"/>
          <a:stretch>
            <a:fillRect/>
          </a:stretch>
        </p:blipFill>
        <p:spPr>
          <a:xfrm>
            <a:off x="0" y="1"/>
            <a:ext cx="9144000" cy="3749040"/>
          </a:xfrm>
          <a:prstGeom prst="rect">
            <a:avLst/>
          </a:prstGeom>
        </p:spPr>
      </p:pic>
    </p:spTree>
    <p:extLst>
      <p:ext uri="{BB962C8B-B14F-4D97-AF65-F5344CB8AC3E}">
        <p14:creationId xmlns:p14="http://schemas.microsoft.com/office/powerpoint/2010/main" val="2748174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6" name="Diagram 5">
            <a:extLst>
              <a:ext uri="{FF2B5EF4-FFF2-40B4-BE49-F238E27FC236}">
                <a16:creationId xmlns:a16="http://schemas.microsoft.com/office/drawing/2014/main" id="{63F0774F-0E7B-4B3C-A29B-9F1E75314DC9}"/>
              </a:ext>
            </a:extLst>
          </p:cNvPr>
          <p:cNvGraphicFramePr/>
          <p:nvPr>
            <p:extLst>
              <p:ext uri="{D42A27DB-BD31-4B8C-83A1-F6EECF244321}">
                <p14:modId xmlns:p14="http://schemas.microsoft.com/office/powerpoint/2010/main" val="2939382073"/>
              </p:ext>
            </p:extLst>
          </p:nvPr>
        </p:nvGraphicFramePr>
        <p:xfrm>
          <a:off x="361244" y="541867"/>
          <a:ext cx="8493196" cy="416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9258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4" name="Diagram 3">
            <a:extLst>
              <a:ext uri="{FF2B5EF4-FFF2-40B4-BE49-F238E27FC236}">
                <a16:creationId xmlns:a16="http://schemas.microsoft.com/office/drawing/2014/main" id="{EFC589C4-48B1-4C94-B72F-E0DEBA4ED26E}"/>
              </a:ext>
            </a:extLst>
          </p:cNvPr>
          <p:cNvGraphicFramePr/>
          <p:nvPr>
            <p:extLst>
              <p:ext uri="{D42A27DB-BD31-4B8C-83A1-F6EECF244321}">
                <p14:modId xmlns:p14="http://schemas.microsoft.com/office/powerpoint/2010/main" val="3280373914"/>
              </p:ext>
            </p:extLst>
          </p:nvPr>
        </p:nvGraphicFramePr>
        <p:xfrm>
          <a:off x="229728" y="391551"/>
          <a:ext cx="8624712" cy="880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BC677226-6B50-41A6-B94D-E91760E8A3D3}"/>
              </a:ext>
            </a:extLst>
          </p:cNvPr>
          <p:cNvSpPr/>
          <p:nvPr/>
        </p:nvSpPr>
        <p:spPr>
          <a:xfrm>
            <a:off x="8105422" y="1433689"/>
            <a:ext cx="749018" cy="3262489"/>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Specialization</a:t>
            </a:r>
            <a:endParaRPr lang="en-US" b="1" dirty="0"/>
          </a:p>
          <a:p>
            <a:pPr algn="ctr"/>
            <a:r>
              <a:rPr lang="en-US" dirty="0"/>
              <a:t>In depth knowledge in one area </a:t>
            </a:r>
          </a:p>
        </p:txBody>
      </p:sp>
      <p:pic>
        <p:nvPicPr>
          <p:cNvPr id="12" name="Picture 11">
            <a:extLst>
              <a:ext uri="{FF2B5EF4-FFF2-40B4-BE49-F238E27FC236}">
                <a16:creationId xmlns:a16="http://schemas.microsoft.com/office/drawing/2014/main" id="{2070AD80-87E0-4327-BCAC-39C7E187EB42}"/>
              </a:ext>
            </a:extLst>
          </p:cNvPr>
          <p:cNvPicPr>
            <a:picLocks noChangeAspect="1"/>
          </p:cNvPicPr>
          <p:nvPr/>
        </p:nvPicPr>
        <p:blipFill>
          <a:blip r:embed="rId7"/>
          <a:stretch>
            <a:fillRect/>
          </a:stretch>
        </p:blipFill>
        <p:spPr>
          <a:xfrm>
            <a:off x="104357" y="1238632"/>
            <a:ext cx="4309599" cy="1267502"/>
          </a:xfrm>
          <a:prstGeom prst="rect">
            <a:avLst/>
          </a:prstGeom>
        </p:spPr>
      </p:pic>
      <p:graphicFrame>
        <p:nvGraphicFramePr>
          <p:cNvPr id="19" name="Diagram 18">
            <a:extLst>
              <a:ext uri="{FF2B5EF4-FFF2-40B4-BE49-F238E27FC236}">
                <a16:creationId xmlns:a16="http://schemas.microsoft.com/office/drawing/2014/main" id="{2878496E-DD0A-4E2C-A4BA-64613EBEF1EC}"/>
              </a:ext>
            </a:extLst>
          </p:cNvPr>
          <p:cNvGraphicFramePr/>
          <p:nvPr>
            <p:extLst>
              <p:ext uri="{D42A27DB-BD31-4B8C-83A1-F6EECF244321}">
                <p14:modId xmlns:p14="http://schemas.microsoft.com/office/powerpoint/2010/main" val="3939060489"/>
              </p:ext>
            </p:extLst>
          </p:nvPr>
        </p:nvGraphicFramePr>
        <p:xfrm>
          <a:off x="1241778" y="2404533"/>
          <a:ext cx="3081869" cy="71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0" name="Diagram 19">
            <a:extLst>
              <a:ext uri="{FF2B5EF4-FFF2-40B4-BE49-F238E27FC236}">
                <a16:creationId xmlns:a16="http://schemas.microsoft.com/office/drawing/2014/main" id="{0AB7F711-4B1D-4BBC-912B-0531BADC05C9}"/>
              </a:ext>
            </a:extLst>
          </p:cNvPr>
          <p:cNvGraphicFramePr/>
          <p:nvPr>
            <p:extLst>
              <p:ext uri="{D42A27DB-BD31-4B8C-83A1-F6EECF244321}">
                <p14:modId xmlns:p14="http://schemas.microsoft.com/office/powerpoint/2010/main" val="1139492452"/>
              </p:ext>
            </p:extLst>
          </p:nvPr>
        </p:nvGraphicFramePr>
        <p:xfrm>
          <a:off x="4413957" y="2404532"/>
          <a:ext cx="3335874" cy="70555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24" name="Picture 23">
            <a:extLst>
              <a:ext uri="{FF2B5EF4-FFF2-40B4-BE49-F238E27FC236}">
                <a16:creationId xmlns:a16="http://schemas.microsoft.com/office/drawing/2014/main" id="{FD9AA01D-DD40-4297-B9EA-85298321C4DC}"/>
              </a:ext>
            </a:extLst>
          </p:cNvPr>
          <p:cNvPicPr>
            <a:picLocks noChangeAspect="1"/>
          </p:cNvPicPr>
          <p:nvPr/>
        </p:nvPicPr>
        <p:blipFill>
          <a:blip r:embed="rId18"/>
          <a:stretch>
            <a:fillRect/>
          </a:stretch>
        </p:blipFill>
        <p:spPr>
          <a:xfrm>
            <a:off x="104357" y="2918776"/>
            <a:ext cx="6736710" cy="1439612"/>
          </a:xfrm>
          <a:prstGeom prst="rect">
            <a:avLst/>
          </a:prstGeom>
          <a:noFill/>
        </p:spPr>
      </p:pic>
      <p:sp>
        <p:nvSpPr>
          <p:cNvPr id="25" name="Rectangle 24">
            <a:extLst>
              <a:ext uri="{FF2B5EF4-FFF2-40B4-BE49-F238E27FC236}">
                <a16:creationId xmlns:a16="http://schemas.microsoft.com/office/drawing/2014/main" id="{DFA6F331-DD8D-49FC-B6CF-A3F216190EB5}"/>
              </a:ext>
            </a:extLst>
          </p:cNvPr>
          <p:cNvSpPr/>
          <p:nvPr/>
        </p:nvSpPr>
        <p:spPr>
          <a:xfrm>
            <a:off x="1659467" y="4154311"/>
            <a:ext cx="3093155" cy="361245"/>
          </a:xfrm>
          <a:prstGeom prst="rect">
            <a:avLst/>
          </a:prstGeom>
          <a:solidFill>
            <a:srgbClr val="CFD5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Weekly Presentation</a:t>
            </a:r>
          </a:p>
        </p:txBody>
      </p:sp>
      <p:pic>
        <p:nvPicPr>
          <p:cNvPr id="29" name="Picture 28">
            <a:extLst>
              <a:ext uri="{FF2B5EF4-FFF2-40B4-BE49-F238E27FC236}">
                <a16:creationId xmlns:a16="http://schemas.microsoft.com/office/drawing/2014/main" id="{2EF5A1CF-9B46-4FE6-A1DC-C831CA613073}"/>
              </a:ext>
            </a:extLst>
          </p:cNvPr>
          <p:cNvPicPr>
            <a:picLocks noChangeAspect="1"/>
          </p:cNvPicPr>
          <p:nvPr/>
        </p:nvPicPr>
        <p:blipFill>
          <a:blip r:embed="rId19"/>
          <a:stretch>
            <a:fillRect/>
          </a:stretch>
        </p:blipFill>
        <p:spPr>
          <a:xfrm>
            <a:off x="4449019" y="1433688"/>
            <a:ext cx="3300812" cy="876975"/>
          </a:xfrm>
          <a:prstGeom prst="rect">
            <a:avLst/>
          </a:prstGeom>
        </p:spPr>
      </p:pic>
    </p:spTree>
    <p:extLst>
      <p:ext uri="{BB962C8B-B14F-4D97-AF65-F5344CB8AC3E}">
        <p14:creationId xmlns:p14="http://schemas.microsoft.com/office/powerpoint/2010/main" val="2730518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6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extLst>
              <p:ext uri="{D42A27DB-BD31-4B8C-83A1-F6EECF244321}">
                <p14:modId xmlns:p14="http://schemas.microsoft.com/office/powerpoint/2010/main" val="931869626"/>
              </p:ext>
            </p:extLst>
          </p:nvPr>
        </p:nvGraphicFramePr>
        <p:xfrm>
          <a:off x="342900" y="545664"/>
          <a:ext cx="8153400" cy="40476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85146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9"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7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extLst>
              <p:ext uri="{D42A27DB-BD31-4B8C-83A1-F6EECF244321}">
                <p14:modId xmlns:p14="http://schemas.microsoft.com/office/powerpoint/2010/main" val="3936095090"/>
              </p:ext>
            </p:extLst>
          </p:nvPr>
        </p:nvGraphicFramePr>
        <p:xfrm>
          <a:off x="342900" y="545664"/>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81585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
        <p:nvSpPr>
          <p:cNvPr id="5" name="TextBox 4"/>
          <p:cNvSpPr txBox="1"/>
          <p:nvPr/>
        </p:nvSpPr>
        <p:spPr>
          <a:xfrm>
            <a:off x="0" y="2248584"/>
            <a:ext cx="9144000" cy="646331"/>
          </a:xfrm>
          <a:prstGeom prst="rect">
            <a:avLst/>
          </a:prstGeom>
          <a:noFill/>
        </p:spPr>
        <p:txBody>
          <a:bodyPr wrap="square" rtlCol="0">
            <a:spAutoFit/>
          </a:bodyPr>
          <a:lstStyle/>
          <a:p>
            <a:pPr algn="ctr" defTabSz="892894">
              <a:defRPr/>
            </a:pPr>
            <a:r>
              <a:rPr lang="en-US" sz="3600" dirty="0">
                <a:solidFill>
                  <a:prstClr val="white"/>
                </a:solidFill>
                <a:latin typeface="Franklin Gothic Demi Cond" panose="020B0706030402020204" pitchFamily="34" charset="0"/>
              </a:rPr>
              <a:t>THANK YOU</a:t>
            </a:r>
          </a:p>
        </p:txBody>
      </p:sp>
    </p:spTree>
    <p:extLst>
      <p:ext uri="{BB962C8B-B14F-4D97-AF65-F5344CB8AC3E}">
        <p14:creationId xmlns:p14="http://schemas.microsoft.com/office/powerpoint/2010/main" val="3434102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heme/theme1.xml><?xml version="1.0" encoding="utf-8"?>
<a:theme xmlns:a="http://schemas.openxmlformats.org/drawingml/2006/main" name="Custom Design">
  <a:themeElements>
    <a:clrScheme name="Custom 3">
      <a:dk1>
        <a:srgbClr val="757070"/>
      </a:dk1>
      <a:lt1>
        <a:sysClr val="window" lastClr="FFFFFF"/>
      </a:lt1>
      <a:dk2>
        <a:srgbClr val="808080"/>
      </a:dk2>
      <a:lt2>
        <a:srgbClr val="E7E6E6"/>
      </a:lt2>
      <a:accent1>
        <a:srgbClr val="AC000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0714D6-F825-004A-9C1C-C58B29AFCAA1}" vid="{EFC4A67A-708B-3349-96F4-33E4F1A956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9E1179C-BDA5-45EA-AD90-D6B77F7164C2}">
  <ds:schemaRefs>
    <ds:schemaRef ds:uri="http://schemas.microsoft.com/sharepoint/v3/contenttype/forms"/>
  </ds:schemaRefs>
</ds:datastoreItem>
</file>

<file path=customXml/itemProps2.xml><?xml version="1.0" encoding="utf-8"?>
<ds:datastoreItem xmlns:ds="http://schemas.openxmlformats.org/officeDocument/2006/customXml" ds:itemID="{A1606B81-948D-43E5-B215-6DF7E9A5B19C}">
  <ds:schemaRef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8B753F6C-A963-4230-A820-7F456A365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3085</TotalTime>
  <Words>415</Words>
  <Application>Microsoft Office PowerPoint</Application>
  <PresentationFormat>On-screen Show (16:9)</PresentationFormat>
  <Paragraphs>49</Paragraphs>
  <Slides>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rial</vt:lpstr>
      <vt:lpstr>Calibri</vt:lpstr>
      <vt:lpstr>Calibri Light</vt:lpstr>
      <vt:lpstr>Franklin Gothic Book</vt:lpstr>
      <vt:lpstr>Franklin Gothic Demi Cond</vt:lpstr>
      <vt:lpstr>Myriad Pro Regular</vt:lpstr>
      <vt:lpstr>Custom Design</vt:lpstr>
      <vt:lpstr>think-cell Slide</vt:lpstr>
      <vt:lpstr>PowerPoint Presentation</vt:lpstr>
      <vt:lpstr>Training Plan</vt:lpstr>
      <vt:lpstr>Training Plan</vt:lpstr>
      <vt:lpstr>Day 6 – Persistence</vt:lpstr>
      <vt:lpstr>Day 7 – Persiste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ay Kumar Vijayakumar (UST, IND)</dc:creator>
  <cp:lastModifiedBy>Balaji A M(UST,IN)</cp:lastModifiedBy>
  <cp:revision>1371</cp:revision>
  <dcterms:created xsi:type="dcterms:W3CDTF">2017-02-28T01:53:19Z</dcterms:created>
  <dcterms:modified xsi:type="dcterms:W3CDTF">2022-06-20T12:37:54Z</dcterms:modified>
</cp:coreProperties>
</file>